
<file path=[Content_Types].xml><?xml version="1.0" encoding="utf-8"?>
<Types xmlns="http://schemas.openxmlformats.org/package/2006/content-types"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6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7" r:id="rId4"/>
    <p:sldMasterId id="2147483809" r:id="rId5"/>
    <p:sldMasterId id="2147483810" r:id="rId6"/>
    <p:sldMasterId id="2147483811" r:id="rId7"/>
    <p:sldMasterId id="2147483812" r:id="rId8"/>
    <p:sldMasterId id="2147483813" r:id="rId9"/>
    <p:sldMasterId id="2147483814" r:id="rId10"/>
  </p:sldMasterIdLst>
  <p:notesMasterIdLst>
    <p:notesMasterId r:id="rId29"/>
  </p:notesMasterIdLst>
  <p:handoutMasterIdLst>
    <p:handoutMasterId r:id="rId30"/>
  </p:handoutMasterIdLst>
  <p:sldIdLst>
    <p:sldId id="262" r:id="rId11"/>
    <p:sldId id="344" r:id="rId12"/>
    <p:sldId id="346" r:id="rId13"/>
    <p:sldId id="345" r:id="rId14"/>
    <p:sldId id="347" r:id="rId15"/>
    <p:sldId id="335" r:id="rId16"/>
    <p:sldId id="349" r:id="rId17"/>
    <p:sldId id="350" r:id="rId18"/>
    <p:sldId id="352" r:id="rId19"/>
    <p:sldId id="351" r:id="rId20"/>
    <p:sldId id="353" r:id="rId21"/>
    <p:sldId id="357" r:id="rId22"/>
    <p:sldId id="354" r:id="rId23"/>
    <p:sldId id="355" r:id="rId24"/>
    <p:sldId id="356" r:id="rId25"/>
    <p:sldId id="329" r:id="rId26"/>
    <p:sldId id="330" r:id="rId27"/>
    <p:sldId id="308" r:id="rId28"/>
  </p:sldIdLst>
  <p:sldSz cx="12192000" cy="6858000"/>
  <p:notesSz cx="6858000" cy="91440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39598"/>
    <a:srgbClr val="F0F0F0"/>
    <a:srgbClr val="000000"/>
    <a:srgbClr val="1E2328"/>
    <a:srgbClr val="59595B"/>
    <a:srgbClr val="231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DBB340-A89D-4DB1-AF76-CBF3D2981FE7}" v="1" dt="2024-03-11T07:55:43.8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398" y="8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0" d="100"/>
          <a:sy n="90" d="100"/>
        </p:scale>
        <p:origin x="2784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i Zhang" userId="d03fca4dc346cac8" providerId="LiveId" clId="{51F513DD-A686-4BBE-9478-AE866034C3F2}"/>
    <pc:docChg chg="undo custSel addSld delSld modSld sldOrd">
      <pc:chgData name="Yi Zhang" userId="d03fca4dc346cac8" providerId="LiveId" clId="{51F513DD-A686-4BBE-9478-AE866034C3F2}" dt="2023-04-19T16:28:10.976" v="944" actId="20577"/>
      <pc:docMkLst>
        <pc:docMk/>
      </pc:docMkLst>
      <pc:sldChg chg="modSp mod">
        <pc:chgData name="Yi Zhang" userId="d03fca4dc346cac8" providerId="LiveId" clId="{51F513DD-A686-4BBE-9478-AE866034C3F2}" dt="2023-04-19T16:22:28.574" v="782" actId="20577"/>
        <pc:sldMkLst>
          <pc:docMk/>
          <pc:sldMk cId="3144035553" sldId="269"/>
        </pc:sldMkLst>
        <pc:spChg chg="mod">
          <ac:chgData name="Yi Zhang" userId="d03fca4dc346cac8" providerId="LiveId" clId="{51F513DD-A686-4BBE-9478-AE866034C3F2}" dt="2023-04-19T16:22:28.574" v="782" actId="20577"/>
          <ac:spMkLst>
            <pc:docMk/>
            <pc:sldMk cId="3144035553" sldId="269"/>
            <ac:spMk id="5" creationId="{3E870F2D-8831-429B-944F-311201CA6E5B}"/>
          </ac:spMkLst>
        </pc:spChg>
      </pc:sldChg>
      <pc:sldChg chg="addSp delSp modSp add mod ord delAnim modAnim">
        <pc:chgData name="Yi Zhang" userId="d03fca4dc346cac8" providerId="LiveId" clId="{51F513DD-A686-4BBE-9478-AE866034C3F2}" dt="2023-04-19T16:20:47.441" v="777"/>
        <pc:sldMkLst>
          <pc:docMk/>
          <pc:sldMk cId="2198556805" sldId="332"/>
        </pc:sldMkLst>
        <pc:spChg chg="mod">
          <ac:chgData name="Yi Zhang" userId="d03fca4dc346cac8" providerId="LiveId" clId="{51F513DD-A686-4BBE-9478-AE866034C3F2}" dt="2023-04-19T16:04:59.002" v="191" actId="20577"/>
          <ac:spMkLst>
            <pc:docMk/>
            <pc:sldMk cId="2198556805" sldId="332"/>
            <ac:spMk id="3" creationId="{B8566EDA-3F11-43C7-A079-E867EA31B4DF}"/>
          </ac:spMkLst>
        </pc:spChg>
        <pc:spChg chg="add del mod">
          <ac:chgData name="Yi Zhang" userId="d03fca4dc346cac8" providerId="LiveId" clId="{51F513DD-A686-4BBE-9478-AE866034C3F2}" dt="2023-04-19T15:59:42.153" v="10" actId="478"/>
          <ac:spMkLst>
            <pc:docMk/>
            <pc:sldMk cId="2198556805" sldId="332"/>
            <ac:spMk id="4" creationId="{D39A8723-EF0D-5CB1-988C-44D4FF0D4842}"/>
          </ac:spMkLst>
        </pc:spChg>
        <pc:spChg chg="del mod">
          <ac:chgData name="Yi Zhang" userId="d03fca4dc346cac8" providerId="LiveId" clId="{51F513DD-A686-4BBE-9478-AE866034C3F2}" dt="2023-04-19T15:59:39.132" v="8"/>
          <ac:spMkLst>
            <pc:docMk/>
            <pc:sldMk cId="2198556805" sldId="332"/>
            <ac:spMk id="8" creationId="{EA3583F2-2ED3-FC3C-78A2-817E3C41495A}"/>
          </ac:spMkLst>
        </pc:spChg>
        <pc:spChg chg="add del mod">
          <ac:chgData name="Yi Zhang" userId="d03fca4dc346cac8" providerId="LiveId" clId="{51F513DD-A686-4BBE-9478-AE866034C3F2}" dt="2023-04-19T16:05:01.634" v="193"/>
          <ac:spMkLst>
            <pc:docMk/>
            <pc:sldMk cId="2198556805" sldId="332"/>
            <ac:spMk id="9" creationId="{5D8207D6-470A-A777-F3BE-3ABBB9D4E285}"/>
          </ac:spMkLst>
        </pc:spChg>
        <pc:spChg chg="add mod">
          <ac:chgData name="Yi Zhang" userId="d03fca4dc346cac8" providerId="LiveId" clId="{51F513DD-A686-4BBE-9478-AE866034C3F2}" dt="2023-04-19T16:14:44.001" v="709" actId="114"/>
          <ac:spMkLst>
            <pc:docMk/>
            <pc:sldMk cId="2198556805" sldId="332"/>
            <ac:spMk id="10" creationId="{33ACE2A3-9DAD-7281-AA9A-C1E3C832E39A}"/>
          </ac:spMkLst>
        </pc:spChg>
        <pc:spChg chg="add mod">
          <ac:chgData name="Yi Zhang" userId="d03fca4dc346cac8" providerId="LiveId" clId="{51F513DD-A686-4BBE-9478-AE866034C3F2}" dt="2023-04-19T16:14:32.547" v="706" actId="14100"/>
          <ac:spMkLst>
            <pc:docMk/>
            <pc:sldMk cId="2198556805" sldId="332"/>
            <ac:spMk id="12" creationId="{8D4F871D-EAC0-F950-8388-BA2554C15DD1}"/>
          </ac:spMkLst>
        </pc:spChg>
        <pc:spChg chg="add mod">
          <ac:chgData name="Yi Zhang" userId="d03fca4dc346cac8" providerId="LiveId" clId="{51F513DD-A686-4BBE-9478-AE866034C3F2}" dt="2023-04-19T16:14:35.032" v="707" actId="1076"/>
          <ac:spMkLst>
            <pc:docMk/>
            <pc:sldMk cId="2198556805" sldId="332"/>
            <ac:spMk id="13" creationId="{FA751E08-F2ED-629C-F0EB-4B0D26B06D94}"/>
          </ac:spMkLst>
        </pc:spChg>
        <pc:spChg chg="add mod">
          <ac:chgData name="Yi Zhang" userId="d03fca4dc346cac8" providerId="LiveId" clId="{51F513DD-A686-4BBE-9478-AE866034C3F2}" dt="2023-04-19T16:17:06.156" v="773" actId="14100"/>
          <ac:spMkLst>
            <pc:docMk/>
            <pc:sldMk cId="2198556805" sldId="332"/>
            <ac:spMk id="14" creationId="{351B8084-A4F6-86FB-0C8F-070BD4191415}"/>
          </ac:spMkLst>
        </pc:spChg>
        <pc:spChg chg="del mod">
          <ac:chgData name="Yi Zhang" userId="d03fca4dc346cac8" providerId="LiveId" clId="{51F513DD-A686-4BBE-9478-AE866034C3F2}" dt="2023-04-19T15:59:39.132" v="6" actId="478"/>
          <ac:spMkLst>
            <pc:docMk/>
            <pc:sldMk cId="2198556805" sldId="332"/>
            <ac:spMk id="29" creationId="{E9FBA6A1-FB46-D7CB-0D65-927ED259916D}"/>
          </ac:spMkLst>
        </pc:spChg>
        <pc:spChg chg="del">
          <ac:chgData name="Yi Zhang" userId="d03fca4dc346cac8" providerId="LiveId" clId="{51F513DD-A686-4BBE-9478-AE866034C3F2}" dt="2023-04-19T15:59:40.243" v="9" actId="478"/>
          <ac:spMkLst>
            <pc:docMk/>
            <pc:sldMk cId="2198556805" sldId="332"/>
            <ac:spMk id="30" creationId="{D0F5E784-D22D-6740-2271-665D09F5576D}"/>
          </ac:spMkLst>
        </pc:spChg>
        <pc:picChg chg="del">
          <ac:chgData name="Yi Zhang" userId="d03fca4dc346cac8" providerId="LiveId" clId="{51F513DD-A686-4BBE-9478-AE866034C3F2}" dt="2023-04-19T15:59:23.508" v="1" actId="478"/>
          <ac:picMkLst>
            <pc:docMk/>
            <pc:sldMk cId="2198556805" sldId="332"/>
            <ac:picMk id="28" creationId="{E60D3A66-5E0F-EE8E-B1E2-6F03761D7F67}"/>
          </ac:picMkLst>
        </pc:picChg>
      </pc:sldChg>
      <pc:sldChg chg="add del">
        <pc:chgData name="Yi Zhang" userId="d03fca4dc346cac8" providerId="LiveId" clId="{51F513DD-A686-4BBE-9478-AE866034C3F2}" dt="2023-04-19T16:12:34.010" v="543"/>
        <pc:sldMkLst>
          <pc:docMk/>
          <pc:sldMk cId="3022470457" sldId="333"/>
        </pc:sldMkLst>
      </pc:sldChg>
      <pc:sldChg chg="modSp add mod">
        <pc:chgData name="Yi Zhang" userId="d03fca4dc346cac8" providerId="LiveId" clId="{51F513DD-A686-4BBE-9478-AE866034C3F2}" dt="2023-04-19T16:28:10.976" v="944" actId="20577"/>
        <pc:sldMkLst>
          <pc:docMk/>
          <pc:sldMk cId="3696762385" sldId="333"/>
        </pc:sldMkLst>
        <pc:spChg chg="mod">
          <ac:chgData name="Yi Zhang" userId="d03fca4dc346cac8" providerId="LiveId" clId="{51F513DD-A686-4BBE-9478-AE866034C3F2}" dt="2023-04-19T16:28:10.976" v="944" actId="20577"/>
          <ac:spMkLst>
            <pc:docMk/>
            <pc:sldMk cId="3696762385" sldId="333"/>
            <ac:spMk id="8" creationId="{386051DB-ED3F-4393-8E62-A165E16FD513}"/>
          </ac:spMkLst>
        </pc:spChg>
      </pc:sldChg>
    </pc:docChg>
  </pc:docChgLst>
  <pc:docChgLst>
    <pc:chgData name="Yi Zhang" userId="d03fca4dc346cac8" providerId="LiveId" clId="{61DBB340-A89D-4DB1-AF76-CBF3D2981FE7}"/>
    <pc:docChg chg="undo custSel addSld delSld modSld">
      <pc:chgData name="Yi Zhang" userId="d03fca4dc346cac8" providerId="LiveId" clId="{61DBB340-A89D-4DB1-AF76-CBF3D2981FE7}" dt="2024-03-11T07:58:10.645" v="189" actId="20577"/>
      <pc:docMkLst>
        <pc:docMk/>
      </pc:docMkLst>
      <pc:sldChg chg="addSp delSp modSp add del mod addAnim delAnim">
        <pc:chgData name="Yi Zhang" userId="d03fca4dc346cac8" providerId="LiveId" clId="{61DBB340-A89D-4DB1-AF76-CBF3D2981FE7}" dt="2024-03-11T07:58:04.952" v="116" actId="20577"/>
        <pc:sldMkLst>
          <pc:docMk/>
          <pc:sldMk cId="1114238458" sldId="329"/>
        </pc:sldMkLst>
        <pc:spChg chg="add del mod">
          <ac:chgData name="Yi Zhang" userId="d03fca4dc346cac8" providerId="LiveId" clId="{61DBB340-A89D-4DB1-AF76-CBF3D2981FE7}" dt="2024-03-11T07:55:43.822" v="4" actId="478"/>
          <ac:spMkLst>
            <pc:docMk/>
            <pc:sldMk cId="1114238458" sldId="329"/>
            <ac:spMk id="5" creationId="{3F9AC333-1D32-C43A-AC78-5C4B9A310000}"/>
          </ac:spMkLst>
        </pc:spChg>
        <pc:spChg chg="add mod">
          <ac:chgData name="Yi Zhang" userId="d03fca4dc346cac8" providerId="LiveId" clId="{61DBB340-A89D-4DB1-AF76-CBF3D2981FE7}" dt="2024-03-11T07:58:04.952" v="116" actId="20577"/>
          <ac:spMkLst>
            <pc:docMk/>
            <pc:sldMk cId="1114238458" sldId="329"/>
            <ac:spMk id="12" creationId="{248D00FF-4AF1-6337-9E03-B87D6141F3BD}"/>
          </ac:spMkLst>
        </pc:spChg>
        <pc:picChg chg="add del">
          <ac:chgData name="Yi Zhang" userId="d03fca4dc346cac8" providerId="LiveId" clId="{61DBB340-A89D-4DB1-AF76-CBF3D2981FE7}" dt="2024-03-11T07:55:47.272" v="5" actId="478"/>
          <ac:picMkLst>
            <pc:docMk/>
            <pc:sldMk cId="1114238458" sldId="329"/>
            <ac:picMk id="16" creationId="{7EF9DEBF-BF1F-46C4-D0E8-83E776F02F62}"/>
          </ac:picMkLst>
        </pc:picChg>
        <pc:picChg chg="del">
          <ac:chgData name="Yi Zhang" userId="d03fca4dc346cac8" providerId="LiveId" clId="{61DBB340-A89D-4DB1-AF76-CBF3D2981FE7}" dt="2024-03-11T07:55:47.272" v="5" actId="478"/>
          <ac:picMkLst>
            <pc:docMk/>
            <pc:sldMk cId="1114238458" sldId="329"/>
            <ac:picMk id="18" creationId="{851E4450-81D1-2AF9-C1A1-183BE7848EA4}"/>
          </ac:picMkLst>
        </pc:picChg>
        <pc:picChg chg="del">
          <ac:chgData name="Yi Zhang" userId="d03fca4dc346cac8" providerId="LiveId" clId="{61DBB340-A89D-4DB1-AF76-CBF3D2981FE7}" dt="2024-03-11T07:55:47.272" v="5" actId="478"/>
          <ac:picMkLst>
            <pc:docMk/>
            <pc:sldMk cId="1114238458" sldId="329"/>
            <ac:picMk id="19" creationId="{80822565-B3A5-7BEF-78FA-FE8FACC523AB}"/>
          </ac:picMkLst>
        </pc:picChg>
        <pc:picChg chg="del">
          <ac:chgData name="Yi Zhang" userId="d03fca4dc346cac8" providerId="LiveId" clId="{61DBB340-A89D-4DB1-AF76-CBF3D2981FE7}" dt="2024-03-11T07:55:47.272" v="5" actId="478"/>
          <ac:picMkLst>
            <pc:docMk/>
            <pc:sldMk cId="1114238458" sldId="329"/>
            <ac:picMk id="20" creationId="{3DC4D09A-85BF-1AD2-6B9A-804C465B6912}"/>
          </ac:picMkLst>
        </pc:picChg>
      </pc:sldChg>
      <pc:sldChg chg="addSp delSp modSp add del mod delAnim">
        <pc:chgData name="Yi Zhang" userId="d03fca4dc346cac8" providerId="LiveId" clId="{61DBB340-A89D-4DB1-AF76-CBF3D2981FE7}" dt="2024-03-11T07:58:10.645" v="189" actId="20577"/>
        <pc:sldMkLst>
          <pc:docMk/>
          <pc:sldMk cId="2656181303" sldId="330"/>
        </pc:sldMkLst>
        <pc:spChg chg="add mod">
          <ac:chgData name="Yi Zhang" userId="d03fca4dc346cac8" providerId="LiveId" clId="{61DBB340-A89D-4DB1-AF76-CBF3D2981FE7}" dt="2024-03-11T07:58:10.645" v="189" actId="20577"/>
          <ac:spMkLst>
            <pc:docMk/>
            <pc:sldMk cId="2656181303" sldId="330"/>
            <ac:spMk id="5" creationId="{6B416BF0-1E29-516E-6F74-3A706F223A24}"/>
          </ac:spMkLst>
        </pc:spChg>
        <pc:picChg chg="del">
          <ac:chgData name="Yi Zhang" userId="d03fca4dc346cac8" providerId="LiveId" clId="{61DBB340-A89D-4DB1-AF76-CBF3D2981FE7}" dt="2024-03-11T07:55:36.535" v="2" actId="478"/>
          <ac:picMkLst>
            <pc:docMk/>
            <pc:sldMk cId="2656181303" sldId="330"/>
            <ac:picMk id="6" creationId="{BE627FC1-9C9D-4698-FC1D-9A31C5E677CC}"/>
          </ac:picMkLst>
        </pc:picChg>
        <pc:picChg chg="del">
          <ac:chgData name="Yi Zhang" userId="d03fca4dc346cac8" providerId="LiveId" clId="{61DBB340-A89D-4DB1-AF76-CBF3D2981FE7}" dt="2024-03-11T07:55:36.535" v="2" actId="478"/>
          <ac:picMkLst>
            <pc:docMk/>
            <pc:sldMk cId="2656181303" sldId="330"/>
            <ac:picMk id="7" creationId="{D6326751-5114-0D1A-2795-FFB96D1886B6}"/>
          </ac:picMkLst>
        </pc:picChg>
      </pc:sldChg>
      <pc:sldMasterChg chg="addSldLayout delSldLayout">
        <pc:chgData name="Yi Zhang" userId="d03fca4dc346cac8" providerId="LiveId" clId="{61DBB340-A89D-4DB1-AF76-CBF3D2981FE7}" dt="2024-03-11T07:55:33.498" v="1" actId="47"/>
        <pc:sldMasterMkLst>
          <pc:docMk/>
          <pc:sldMasterMk cId="2554134743" sldId="2147483807"/>
        </pc:sldMasterMkLst>
        <pc:sldLayoutChg chg="add del">
          <pc:chgData name="Yi Zhang" userId="d03fca4dc346cac8" providerId="LiveId" clId="{61DBB340-A89D-4DB1-AF76-CBF3D2981FE7}" dt="2024-03-11T07:55:33.498" v="1" actId="47"/>
          <pc:sldLayoutMkLst>
            <pc:docMk/>
            <pc:sldMasterMk cId="2554134743" sldId="2147483807"/>
            <pc:sldLayoutMk cId="3955182140" sldId="2147483827"/>
          </pc:sldLayoutMkLst>
        </pc:sldLayoutChg>
      </pc:sldMasterChg>
    </pc:docChg>
  </pc:docChgLst>
  <pc:docChgLst>
    <pc:chgData name="Yi Zhang" userId="d03fca4dc346cac8" providerId="LiveId" clId="{4E5A36B7-989F-465C-81B5-23DF07CF9D44}"/>
    <pc:docChg chg="undo custSel addSld delSld modSld">
      <pc:chgData name="Yi Zhang" userId="d03fca4dc346cac8" providerId="LiveId" clId="{4E5A36B7-989F-465C-81B5-23DF07CF9D44}" dt="2023-09-27T10:52:25.069" v="1505"/>
      <pc:docMkLst>
        <pc:docMk/>
      </pc:docMkLst>
      <pc:sldChg chg="addSp delSp modSp mod">
        <pc:chgData name="Yi Zhang" userId="d03fca4dc346cac8" providerId="LiveId" clId="{4E5A36B7-989F-465C-81B5-23DF07CF9D44}" dt="2023-09-27T09:15:50.041" v="1333" actId="1076"/>
        <pc:sldMkLst>
          <pc:docMk/>
          <pc:sldMk cId="3435046149" sldId="262"/>
        </pc:sldMkLst>
        <pc:spChg chg="add mod">
          <ac:chgData name="Yi Zhang" userId="d03fca4dc346cac8" providerId="LiveId" clId="{4E5A36B7-989F-465C-81B5-23DF07CF9D44}" dt="2023-09-26T09:39:25.015" v="85" actId="1076"/>
          <ac:spMkLst>
            <pc:docMk/>
            <pc:sldMk cId="3435046149" sldId="262"/>
            <ac:spMk id="2" creationId="{0674B2CB-9DB1-3B8B-08FF-1A40119704BB}"/>
          </ac:spMkLst>
        </pc:spChg>
        <pc:spChg chg="add mod">
          <ac:chgData name="Yi Zhang" userId="d03fca4dc346cac8" providerId="LiveId" clId="{4E5A36B7-989F-465C-81B5-23DF07CF9D44}" dt="2023-09-27T09:15:50.041" v="1333" actId="1076"/>
          <ac:spMkLst>
            <pc:docMk/>
            <pc:sldMk cId="3435046149" sldId="262"/>
            <ac:spMk id="3" creationId="{C15D54B3-C3C2-5F1D-3328-D4928F4C2144}"/>
          </ac:spMkLst>
        </pc:spChg>
        <pc:spChg chg="del mod">
          <ac:chgData name="Yi Zhang" userId="d03fca4dc346cac8" providerId="LiveId" clId="{4E5A36B7-989F-465C-81B5-23DF07CF9D44}" dt="2023-09-26T09:39:03.188" v="73" actId="478"/>
          <ac:spMkLst>
            <pc:docMk/>
            <pc:sldMk cId="3435046149" sldId="262"/>
            <ac:spMk id="5" creationId="{3E870F2D-8831-429B-944F-311201CA6E5B}"/>
          </ac:spMkLst>
        </pc:spChg>
      </pc:sldChg>
      <pc:sldChg chg="del">
        <pc:chgData name="Yi Zhang" userId="d03fca4dc346cac8" providerId="LiveId" clId="{4E5A36B7-989F-465C-81B5-23DF07CF9D44}" dt="2023-09-26T09:39:54.330" v="92" actId="47"/>
        <pc:sldMkLst>
          <pc:docMk/>
          <pc:sldMk cId="3144035553" sldId="269"/>
        </pc:sldMkLst>
      </pc:sldChg>
      <pc:sldChg chg="del">
        <pc:chgData name="Yi Zhang" userId="d03fca4dc346cac8" providerId="LiveId" clId="{4E5A36B7-989F-465C-81B5-23DF07CF9D44}" dt="2023-09-26T09:40:03.130" v="94" actId="47"/>
        <pc:sldMkLst>
          <pc:docMk/>
          <pc:sldMk cId="3205387846" sldId="273"/>
        </pc:sldMkLst>
      </pc:sldChg>
      <pc:sldChg chg="modSp mod">
        <pc:chgData name="Yi Zhang" userId="d03fca4dc346cac8" providerId="LiveId" clId="{4E5A36B7-989F-465C-81B5-23DF07CF9D44}" dt="2023-09-27T09:03:32.633" v="1104" actId="20577"/>
        <pc:sldMkLst>
          <pc:docMk/>
          <pc:sldMk cId="2662654116" sldId="308"/>
        </pc:sldMkLst>
        <pc:spChg chg="mod">
          <ac:chgData name="Yi Zhang" userId="d03fca4dc346cac8" providerId="LiveId" clId="{4E5A36B7-989F-465C-81B5-23DF07CF9D44}" dt="2023-09-27T09:03:32.633" v="1104" actId="20577"/>
          <ac:spMkLst>
            <pc:docMk/>
            <pc:sldMk cId="2662654116" sldId="308"/>
            <ac:spMk id="5" creationId="{BD8500E4-A1E6-434E-B2F0-C68F00678FDD}"/>
          </ac:spMkLst>
        </pc:spChg>
      </pc:sldChg>
      <pc:sldChg chg="modSp mod modAnim">
        <pc:chgData name="Yi Zhang" userId="d03fca4dc346cac8" providerId="LiveId" clId="{4E5A36B7-989F-465C-81B5-23DF07CF9D44}" dt="2023-09-27T09:12:30.672" v="1210" actId="14100"/>
        <pc:sldMkLst>
          <pc:docMk/>
          <pc:sldMk cId="2330746229" sldId="327"/>
        </pc:sldMkLst>
        <pc:spChg chg="mod">
          <ac:chgData name="Yi Zhang" userId="d03fca4dc346cac8" providerId="LiveId" clId="{4E5A36B7-989F-465C-81B5-23DF07CF9D44}" dt="2023-09-27T09:12:30.672" v="1210" actId="14100"/>
          <ac:spMkLst>
            <pc:docMk/>
            <pc:sldMk cId="2330746229" sldId="327"/>
            <ac:spMk id="36" creationId="{0BF06679-3BA0-CA31-98DB-0BF911A3CE61}"/>
          </ac:spMkLst>
        </pc:spChg>
        <pc:spChg chg="mod">
          <ac:chgData name="Yi Zhang" userId="d03fca4dc346cac8" providerId="LiveId" clId="{4E5A36B7-989F-465C-81B5-23DF07CF9D44}" dt="2023-09-26T09:47:15.557" v="137" actId="207"/>
          <ac:spMkLst>
            <pc:docMk/>
            <pc:sldMk cId="2330746229" sldId="327"/>
            <ac:spMk id="85" creationId="{8B68C588-3D5E-0C14-7EEF-CA84D0D0D7EE}"/>
          </ac:spMkLst>
        </pc:spChg>
        <pc:spChg chg="mod">
          <ac:chgData name="Yi Zhang" userId="d03fca4dc346cac8" providerId="LiveId" clId="{4E5A36B7-989F-465C-81B5-23DF07CF9D44}" dt="2023-09-26T09:47:15.557" v="137" actId="207"/>
          <ac:spMkLst>
            <pc:docMk/>
            <pc:sldMk cId="2330746229" sldId="327"/>
            <ac:spMk id="90" creationId="{B2DB6C38-C239-EF35-DF3B-E1ADAC65DA28}"/>
          </ac:spMkLst>
        </pc:spChg>
        <pc:spChg chg="mod">
          <ac:chgData name="Yi Zhang" userId="d03fca4dc346cac8" providerId="LiveId" clId="{4E5A36B7-989F-465C-81B5-23DF07CF9D44}" dt="2023-09-26T10:01:53.359" v="140" actId="207"/>
          <ac:spMkLst>
            <pc:docMk/>
            <pc:sldMk cId="2330746229" sldId="327"/>
            <ac:spMk id="116" creationId="{F890BACA-B46C-1AE5-B840-ABDA86537A30}"/>
          </ac:spMkLst>
        </pc:spChg>
        <pc:spChg chg="mod">
          <ac:chgData name="Yi Zhang" userId="d03fca4dc346cac8" providerId="LiveId" clId="{4E5A36B7-989F-465C-81B5-23DF07CF9D44}" dt="2023-09-26T10:01:53.359" v="140" actId="207"/>
          <ac:spMkLst>
            <pc:docMk/>
            <pc:sldMk cId="2330746229" sldId="327"/>
            <ac:spMk id="117" creationId="{2EF5FDBC-E9F0-2071-CB0F-78D468EB4561}"/>
          </ac:spMkLst>
        </pc:spChg>
        <pc:spChg chg="mod">
          <ac:chgData name="Yi Zhang" userId="d03fca4dc346cac8" providerId="LiveId" clId="{4E5A36B7-989F-465C-81B5-23DF07CF9D44}" dt="2023-09-26T10:01:53.359" v="140" actId="207"/>
          <ac:spMkLst>
            <pc:docMk/>
            <pc:sldMk cId="2330746229" sldId="327"/>
            <ac:spMk id="118" creationId="{5B4C191D-1888-6F8B-A227-D337150249E5}"/>
          </ac:spMkLst>
        </pc:spChg>
        <pc:spChg chg="mod">
          <ac:chgData name="Yi Zhang" userId="d03fca4dc346cac8" providerId="LiveId" clId="{4E5A36B7-989F-465C-81B5-23DF07CF9D44}" dt="2023-09-26T10:01:53.359" v="140" actId="207"/>
          <ac:spMkLst>
            <pc:docMk/>
            <pc:sldMk cId="2330746229" sldId="327"/>
            <ac:spMk id="119" creationId="{19930F78-D050-0D3A-0FB2-1CBA56B870AB}"/>
          </ac:spMkLst>
        </pc:spChg>
        <pc:cxnChg chg="mod">
          <ac:chgData name="Yi Zhang" userId="d03fca4dc346cac8" providerId="LiveId" clId="{4E5A36B7-989F-465C-81B5-23DF07CF9D44}" dt="2023-09-26T10:01:53.359" v="140" actId="207"/>
          <ac:cxnSpMkLst>
            <pc:docMk/>
            <pc:sldMk cId="2330746229" sldId="327"/>
            <ac:cxnSpMk id="115" creationId="{5B3D263A-8951-35C4-0EBB-16506C18781C}"/>
          </ac:cxnSpMkLst>
        </pc:cxnChg>
        <pc:cxnChg chg="mod">
          <ac:chgData name="Yi Zhang" userId="d03fca4dc346cac8" providerId="LiveId" clId="{4E5A36B7-989F-465C-81B5-23DF07CF9D44}" dt="2023-09-26T10:01:53.359" v="140" actId="207"/>
          <ac:cxnSpMkLst>
            <pc:docMk/>
            <pc:sldMk cId="2330746229" sldId="327"/>
            <ac:cxnSpMk id="120" creationId="{6D648EF2-9B24-C282-5F24-25A2EFBDE7CA}"/>
          </ac:cxnSpMkLst>
        </pc:cxnChg>
        <pc:cxnChg chg="mod">
          <ac:chgData name="Yi Zhang" userId="d03fca4dc346cac8" providerId="LiveId" clId="{4E5A36B7-989F-465C-81B5-23DF07CF9D44}" dt="2023-09-26T10:01:53.359" v="140" actId="207"/>
          <ac:cxnSpMkLst>
            <pc:docMk/>
            <pc:sldMk cId="2330746229" sldId="327"/>
            <ac:cxnSpMk id="121" creationId="{7803DABB-AA7C-6026-07C9-42FC43F2D3DE}"/>
          </ac:cxnSpMkLst>
        </pc:cxnChg>
        <pc:cxnChg chg="mod">
          <ac:chgData name="Yi Zhang" userId="d03fca4dc346cac8" providerId="LiveId" clId="{4E5A36B7-989F-465C-81B5-23DF07CF9D44}" dt="2023-09-26T10:01:53.359" v="140" actId="207"/>
          <ac:cxnSpMkLst>
            <pc:docMk/>
            <pc:sldMk cId="2330746229" sldId="327"/>
            <ac:cxnSpMk id="122" creationId="{26C5CF43-B57F-3954-8FA0-DD22819FAD88}"/>
          </ac:cxnSpMkLst>
        </pc:cxnChg>
      </pc:sldChg>
      <pc:sldChg chg="delSp del mod">
        <pc:chgData name="Yi Zhang" userId="d03fca4dc346cac8" providerId="LiveId" clId="{4E5A36B7-989F-465C-81B5-23DF07CF9D44}" dt="2023-09-26T09:39:53.043" v="91" actId="47"/>
        <pc:sldMkLst>
          <pc:docMk/>
          <pc:sldMk cId="440204665" sldId="328"/>
        </pc:sldMkLst>
        <pc:spChg chg="del">
          <ac:chgData name="Yi Zhang" userId="d03fca4dc346cac8" providerId="LiveId" clId="{4E5A36B7-989F-465C-81B5-23DF07CF9D44}" dt="2023-09-26T09:39:40.263" v="86" actId="21"/>
          <ac:spMkLst>
            <pc:docMk/>
            <pc:sldMk cId="440204665" sldId="328"/>
            <ac:spMk id="8" creationId="{EA3583F2-2ED3-FC3C-78A2-817E3C41495A}"/>
          </ac:spMkLst>
        </pc:spChg>
      </pc:sldChg>
      <pc:sldChg chg="addSp delSp modSp mod">
        <pc:chgData name="Yi Zhang" userId="d03fca4dc346cac8" providerId="LiveId" clId="{4E5A36B7-989F-465C-81B5-23DF07CF9D44}" dt="2023-09-27T09:12:36.296" v="1212"/>
        <pc:sldMkLst>
          <pc:docMk/>
          <pc:sldMk cId="4218868986" sldId="329"/>
        </pc:sldMkLst>
        <pc:spChg chg="add mod">
          <ac:chgData name="Yi Zhang" userId="d03fca4dc346cac8" providerId="LiveId" clId="{4E5A36B7-989F-465C-81B5-23DF07CF9D44}" dt="2023-09-27T09:12:36.296" v="1212"/>
          <ac:spMkLst>
            <pc:docMk/>
            <pc:sldMk cId="4218868986" sldId="329"/>
            <ac:spMk id="2" creationId="{29E22CEE-6B0A-08B1-6DB8-8C017B4540F5}"/>
          </ac:spMkLst>
        </pc:spChg>
        <pc:spChg chg="del">
          <ac:chgData name="Yi Zhang" userId="d03fca4dc346cac8" providerId="LiveId" clId="{4E5A36B7-989F-465C-81B5-23DF07CF9D44}" dt="2023-09-27T09:12:36.053" v="1211" actId="478"/>
          <ac:spMkLst>
            <pc:docMk/>
            <pc:sldMk cId="4218868986" sldId="329"/>
            <ac:spMk id="36" creationId="{0BF06679-3BA0-CA31-98DB-0BF911A3CE61}"/>
          </ac:spMkLst>
        </pc:spChg>
        <pc:spChg chg="mod">
          <ac:chgData name="Yi Zhang" userId="d03fca4dc346cac8" providerId="LiveId" clId="{4E5A36B7-989F-465C-81B5-23DF07CF9D44}" dt="2023-09-26T10:01:57.133" v="141" actId="207"/>
          <ac:spMkLst>
            <pc:docMk/>
            <pc:sldMk cId="4218868986" sldId="329"/>
            <ac:spMk id="61" creationId="{77287BA2-317C-8DAA-6C70-BC0FE6BB761D}"/>
          </ac:spMkLst>
        </pc:spChg>
        <pc:spChg chg="mod">
          <ac:chgData name="Yi Zhang" userId="d03fca4dc346cac8" providerId="LiveId" clId="{4E5A36B7-989F-465C-81B5-23DF07CF9D44}" dt="2023-09-26T10:01:57.133" v="141" actId="207"/>
          <ac:spMkLst>
            <pc:docMk/>
            <pc:sldMk cId="4218868986" sldId="329"/>
            <ac:spMk id="62" creationId="{B63FD2BE-4250-CFB2-C949-BB761E91C9F1}"/>
          </ac:spMkLst>
        </pc:spChg>
        <pc:spChg chg="mod">
          <ac:chgData name="Yi Zhang" userId="d03fca4dc346cac8" providerId="LiveId" clId="{4E5A36B7-989F-465C-81B5-23DF07CF9D44}" dt="2023-09-26T10:01:57.133" v="141" actId="207"/>
          <ac:spMkLst>
            <pc:docMk/>
            <pc:sldMk cId="4218868986" sldId="329"/>
            <ac:spMk id="64" creationId="{026473AD-F1A1-7238-6511-0960A182EC4F}"/>
          </ac:spMkLst>
        </pc:spChg>
        <pc:spChg chg="mod">
          <ac:chgData name="Yi Zhang" userId="d03fca4dc346cac8" providerId="LiveId" clId="{4E5A36B7-989F-465C-81B5-23DF07CF9D44}" dt="2023-09-26T10:01:57.133" v="141" actId="207"/>
          <ac:spMkLst>
            <pc:docMk/>
            <pc:sldMk cId="4218868986" sldId="329"/>
            <ac:spMk id="70" creationId="{655C0725-7CDE-5D06-24BB-FD2395E82CCE}"/>
          </ac:spMkLst>
        </pc:spChg>
        <pc:spChg chg="mod">
          <ac:chgData name="Yi Zhang" userId="d03fca4dc346cac8" providerId="LiveId" clId="{4E5A36B7-989F-465C-81B5-23DF07CF9D44}" dt="2023-09-26T09:47:21.104" v="138" actId="207"/>
          <ac:spMkLst>
            <pc:docMk/>
            <pc:sldMk cId="4218868986" sldId="329"/>
            <ac:spMk id="85" creationId="{8B68C588-3D5E-0C14-7EEF-CA84D0D0D7EE}"/>
          </ac:spMkLst>
        </pc:spChg>
        <pc:spChg chg="mod">
          <ac:chgData name="Yi Zhang" userId="d03fca4dc346cac8" providerId="LiveId" clId="{4E5A36B7-989F-465C-81B5-23DF07CF9D44}" dt="2023-09-26T09:47:21.104" v="138" actId="207"/>
          <ac:spMkLst>
            <pc:docMk/>
            <pc:sldMk cId="4218868986" sldId="329"/>
            <ac:spMk id="90" creationId="{B2DB6C38-C239-EF35-DF3B-E1ADAC65DA28}"/>
          </ac:spMkLst>
        </pc:spChg>
      </pc:sldChg>
      <pc:sldChg chg="addSp delSp modSp mod">
        <pc:chgData name="Yi Zhang" userId="d03fca4dc346cac8" providerId="LiveId" clId="{4E5A36B7-989F-465C-81B5-23DF07CF9D44}" dt="2023-09-27T09:12:39.410" v="1214"/>
        <pc:sldMkLst>
          <pc:docMk/>
          <pc:sldMk cId="2927368495" sldId="330"/>
        </pc:sldMkLst>
        <pc:spChg chg="add mod">
          <ac:chgData name="Yi Zhang" userId="d03fca4dc346cac8" providerId="LiveId" clId="{4E5A36B7-989F-465C-81B5-23DF07CF9D44}" dt="2023-09-27T09:12:39.410" v="1214"/>
          <ac:spMkLst>
            <pc:docMk/>
            <pc:sldMk cId="2927368495" sldId="330"/>
            <ac:spMk id="2" creationId="{AD8A1280-A41D-1E1E-631A-651FCC9591EA}"/>
          </ac:spMkLst>
        </pc:spChg>
        <pc:spChg chg="del">
          <ac:chgData name="Yi Zhang" userId="d03fca4dc346cac8" providerId="LiveId" clId="{4E5A36B7-989F-465C-81B5-23DF07CF9D44}" dt="2023-09-27T09:12:39.107" v="1213" actId="478"/>
          <ac:spMkLst>
            <pc:docMk/>
            <pc:sldMk cId="2927368495" sldId="330"/>
            <ac:spMk id="36" creationId="{0BF06679-3BA0-CA31-98DB-0BF911A3CE61}"/>
          </ac:spMkLst>
        </pc:spChg>
        <pc:spChg chg="mod">
          <ac:chgData name="Yi Zhang" userId="d03fca4dc346cac8" providerId="LiveId" clId="{4E5A36B7-989F-465C-81B5-23DF07CF9D44}" dt="2023-09-26T09:47:25.026" v="139" actId="207"/>
          <ac:spMkLst>
            <pc:docMk/>
            <pc:sldMk cId="2927368495" sldId="330"/>
            <ac:spMk id="85" creationId="{8B68C588-3D5E-0C14-7EEF-CA84D0D0D7EE}"/>
          </ac:spMkLst>
        </pc:spChg>
        <pc:spChg chg="mod">
          <ac:chgData name="Yi Zhang" userId="d03fca4dc346cac8" providerId="LiveId" clId="{4E5A36B7-989F-465C-81B5-23DF07CF9D44}" dt="2023-09-26T09:47:25.026" v="139" actId="207"/>
          <ac:spMkLst>
            <pc:docMk/>
            <pc:sldMk cId="2927368495" sldId="330"/>
            <ac:spMk id="90" creationId="{B2DB6C38-C239-EF35-DF3B-E1ADAC65DA28}"/>
          </ac:spMkLst>
        </pc:spChg>
        <pc:spChg chg="mod">
          <ac:chgData name="Yi Zhang" userId="d03fca4dc346cac8" providerId="LiveId" clId="{4E5A36B7-989F-465C-81B5-23DF07CF9D44}" dt="2023-09-26T10:02:03.245" v="143" actId="207"/>
          <ac:spMkLst>
            <pc:docMk/>
            <pc:sldMk cId="2927368495" sldId="330"/>
            <ac:spMk id="92" creationId="{8AAD7173-5A3F-0A06-0F21-25A5AFE91D19}"/>
          </ac:spMkLst>
        </pc:spChg>
        <pc:spChg chg="mod">
          <ac:chgData name="Yi Zhang" userId="d03fca4dc346cac8" providerId="LiveId" clId="{4E5A36B7-989F-465C-81B5-23DF07CF9D44}" dt="2023-09-26T10:02:00.707" v="142" actId="207"/>
          <ac:spMkLst>
            <pc:docMk/>
            <pc:sldMk cId="2927368495" sldId="330"/>
            <ac:spMk id="93" creationId="{9BE19E40-B2B9-D3A9-5504-0B38412BF634}"/>
          </ac:spMkLst>
        </pc:spChg>
        <pc:spChg chg="mod">
          <ac:chgData name="Yi Zhang" userId="d03fca4dc346cac8" providerId="LiveId" clId="{4E5A36B7-989F-465C-81B5-23DF07CF9D44}" dt="2023-09-26T10:02:00.707" v="142" actId="207"/>
          <ac:spMkLst>
            <pc:docMk/>
            <pc:sldMk cId="2927368495" sldId="330"/>
            <ac:spMk id="94" creationId="{8BB05F4F-684A-DA51-D4EA-15119BBC500D}"/>
          </ac:spMkLst>
        </pc:spChg>
        <pc:spChg chg="mod">
          <ac:chgData name="Yi Zhang" userId="d03fca4dc346cac8" providerId="LiveId" clId="{4E5A36B7-989F-465C-81B5-23DF07CF9D44}" dt="2023-09-26T10:02:00.707" v="142" actId="207"/>
          <ac:spMkLst>
            <pc:docMk/>
            <pc:sldMk cId="2927368495" sldId="330"/>
            <ac:spMk id="95" creationId="{A865A7C5-DF7E-5C7C-C292-102A230E692C}"/>
          </ac:spMkLst>
        </pc:spChg>
      </pc:sldChg>
      <pc:sldChg chg="addSp delSp modSp mod">
        <pc:chgData name="Yi Zhang" userId="d03fca4dc346cac8" providerId="LiveId" clId="{4E5A36B7-989F-465C-81B5-23DF07CF9D44}" dt="2023-09-27T09:13:18.365" v="1316" actId="1038"/>
        <pc:sldMkLst>
          <pc:docMk/>
          <pc:sldMk cId="2669812811" sldId="331"/>
        </pc:sldMkLst>
        <pc:spChg chg="add del mod">
          <ac:chgData name="Yi Zhang" userId="d03fca4dc346cac8" providerId="LiveId" clId="{4E5A36B7-989F-465C-81B5-23DF07CF9D44}" dt="2023-09-27T09:12:49.536" v="1217"/>
          <ac:spMkLst>
            <pc:docMk/>
            <pc:sldMk cId="2669812811" sldId="331"/>
            <ac:spMk id="2" creationId="{EC9F90CF-A305-C168-12B3-B3FA7D0CEB9A}"/>
          </ac:spMkLst>
        </pc:spChg>
        <pc:spChg chg="add del mod">
          <ac:chgData name="Yi Zhang" userId="d03fca4dc346cac8" providerId="LiveId" clId="{4E5A36B7-989F-465C-81B5-23DF07CF9D44}" dt="2023-09-27T09:12:57.494" v="1243"/>
          <ac:spMkLst>
            <pc:docMk/>
            <pc:sldMk cId="2669812811" sldId="331"/>
            <ac:spMk id="3" creationId="{F8CD6297-0E96-47B8-C1A9-76C643B80422}"/>
          </ac:spMkLst>
        </pc:spChg>
        <pc:spChg chg="add mod">
          <ac:chgData name="Yi Zhang" userId="d03fca4dc346cac8" providerId="LiveId" clId="{4E5A36B7-989F-465C-81B5-23DF07CF9D44}" dt="2023-09-27T09:13:01.986" v="1266"/>
          <ac:spMkLst>
            <pc:docMk/>
            <pc:sldMk cId="2669812811" sldId="331"/>
            <ac:spMk id="4" creationId="{62E92747-A6FF-196B-DFD0-730D8F5EF1BF}"/>
          </ac:spMkLst>
        </pc:spChg>
        <pc:spChg chg="del">
          <ac:chgData name="Yi Zhang" userId="d03fca4dc346cac8" providerId="LiveId" clId="{4E5A36B7-989F-465C-81B5-23DF07CF9D44}" dt="2023-09-27T09:12:42.436" v="1215" actId="478"/>
          <ac:spMkLst>
            <pc:docMk/>
            <pc:sldMk cId="2669812811" sldId="331"/>
            <ac:spMk id="36" creationId="{0BF06679-3BA0-CA31-98DB-0BF911A3CE61}"/>
          </ac:spMkLst>
        </pc:spChg>
        <pc:spChg chg="mod">
          <ac:chgData name="Yi Zhang" userId="d03fca4dc346cac8" providerId="LiveId" clId="{4E5A36B7-989F-465C-81B5-23DF07CF9D44}" dt="2023-09-26T10:02:39.325" v="147" actId="207"/>
          <ac:spMkLst>
            <pc:docMk/>
            <pc:sldMk cId="2669812811" sldId="331"/>
            <ac:spMk id="85" creationId="{8B68C588-3D5E-0C14-7EEF-CA84D0D0D7EE}"/>
          </ac:spMkLst>
        </pc:spChg>
        <pc:spChg chg="mod">
          <ac:chgData name="Yi Zhang" userId="d03fca4dc346cac8" providerId="LiveId" clId="{4E5A36B7-989F-465C-81B5-23DF07CF9D44}" dt="2023-09-26T10:02:39.325" v="147" actId="207"/>
          <ac:spMkLst>
            <pc:docMk/>
            <pc:sldMk cId="2669812811" sldId="331"/>
            <ac:spMk id="90" creationId="{B2DB6C38-C239-EF35-DF3B-E1ADAC65DA28}"/>
          </ac:spMkLst>
        </pc:spChg>
        <pc:spChg chg="mod">
          <ac:chgData name="Yi Zhang" userId="d03fca4dc346cac8" providerId="LiveId" clId="{4E5A36B7-989F-465C-81B5-23DF07CF9D44}" dt="2023-09-27T09:13:09.930" v="1282" actId="1038"/>
          <ac:spMkLst>
            <pc:docMk/>
            <pc:sldMk cId="2669812811" sldId="331"/>
            <ac:spMk id="102" creationId="{8D192BB8-0599-7FD5-D74A-054D90E1A7BB}"/>
          </ac:spMkLst>
        </pc:spChg>
        <pc:cxnChg chg="mod">
          <ac:chgData name="Yi Zhang" userId="d03fca4dc346cac8" providerId="LiveId" clId="{4E5A36B7-989F-465C-81B5-23DF07CF9D44}" dt="2023-09-27T09:13:18.365" v="1316" actId="1038"/>
          <ac:cxnSpMkLst>
            <pc:docMk/>
            <pc:sldMk cId="2669812811" sldId="331"/>
            <ac:cxnSpMk id="80" creationId="{CE7E4053-4FA9-2C3C-008B-C93EA063B0E0}"/>
          </ac:cxnSpMkLst>
        </pc:cxnChg>
        <pc:cxnChg chg="mod">
          <ac:chgData name="Yi Zhang" userId="d03fca4dc346cac8" providerId="LiveId" clId="{4E5A36B7-989F-465C-81B5-23DF07CF9D44}" dt="2023-09-27T09:13:18.365" v="1316" actId="1038"/>
          <ac:cxnSpMkLst>
            <pc:docMk/>
            <pc:sldMk cId="2669812811" sldId="331"/>
            <ac:cxnSpMk id="81" creationId="{C9FFACDA-8163-7682-3295-827E56A89506}"/>
          </ac:cxnSpMkLst>
        </pc:cxnChg>
        <pc:cxnChg chg="mod">
          <ac:chgData name="Yi Zhang" userId="d03fca4dc346cac8" providerId="LiveId" clId="{4E5A36B7-989F-465C-81B5-23DF07CF9D44}" dt="2023-09-27T09:13:12.926" v="1299" actId="1038"/>
          <ac:cxnSpMkLst>
            <pc:docMk/>
            <pc:sldMk cId="2669812811" sldId="331"/>
            <ac:cxnSpMk id="99" creationId="{65CF4331-C3DE-365D-AC17-90706E1C2C2A}"/>
          </ac:cxnSpMkLst>
        </pc:cxnChg>
      </pc:sldChg>
      <pc:sldChg chg="addSp modSp mod modAnim">
        <pc:chgData name="Yi Zhang" userId="d03fca4dc346cac8" providerId="LiveId" clId="{4E5A36B7-989F-465C-81B5-23DF07CF9D44}" dt="2023-09-27T09:31:04.355" v="1479" actId="20577"/>
        <pc:sldMkLst>
          <pc:docMk/>
          <pc:sldMk cId="2198556805" sldId="332"/>
        </pc:sldMkLst>
        <pc:spChg chg="add mod">
          <ac:chgData name="Yi Zhang" userId="d03fca4dc346cac8" providerId="LiveId" clId="{4E5A36B7-989F-465C-81B5-23DF07CF9D44}" dt="2023-09-27T09:31:04.355" v="1479" actId="20577"/>
          <ac:spMkLst>
            <pc:docMk/>
            <pc:sldMk cId="2198556805" sldId="332"/>
            <ac:spMk id="2" creationId="{62069F3E-1D94-1CF3-F967-9DEFB38F4A61}"/>
          </ac:spMkLst>
        </pc:spChg>
        <pc:picChg chg="add mod">
          <ac:chgData name="Yi Zhang" userId="d03fca4dc346cac8" providerId="LiveId" clId="{4E5A36B7-989F-465C-81B5-23DF07CF9D44}" dt="2023-09-26T10:09:15.708" v="329" actId="1076"/>
          <ac:picMkLst>
            <pc:docMk/>
            <pc:sldMk cId="2198556805" sldId="332"/>
            <ac:picMk id="8" creationId="{EE41332C-C56A-EFE8-52C1-C03166546B96}"/>
          </ac:picMkLst>
        </pc:picChg>
        <pc:picChg chg="add mod">
          <ac:chgData name="Yi Zhang" userId="d03fca4dc346cac8" providerId="LiveId" clId="{4E5A36B7-989F-465C-81B5-23DF07CF9D44}" dt="2023-09-26T10:09:43.851" v="334" actId="1076"/>
          <ac:picMkLst>
            <pc:docMk/>
            <pc:sldMk cId="2198556805" sldId="332"/>
            <ac:picMk id="11" creationId="{CE30FA43-FD82-3DF7-3058-8C3F77AAAEDD}"/>
          </ac:picMkLst>
        </pc:picChg>
        <pc:picChg chg="add mod">
          <ac:chgData name="Yi Zhang" userId="d03fca4dc346cac8" providerId="LiveId" clId="{4E5A36B7-989F-465C-81B5-23DF07CF9D44}" dt="2023-09-26T10:10:08.144" v="337" actId="1076"/>
          <ac:picMkLst>
            <pc:docMk/>
            <pc:sldMk cId="2198556805" sldId="332"/>
            <ac:picMk id="16" creationId="{BCAF6577-9228-CF4D-443D-5AAA9B45922A}"/>
          </ac:picMkLst>
        </pc:picChg>
        <pc:picChg chg="add mod">
          <ac:chgData name="Yi Zhang" userId="d03fca4dc346cac8" providerId="LiveId" clId="{4E5A36B7-989F-465C-81B5-23DF07CF9D44}" dt="2023-09-26T10:08:18.168" v="323" actId="1076"/>
          <ac:picMkLst>
            <pc:docMk/>
            <pc:sldMk cId="2198556805" sldId="332"/>
            <ac:picMk id="1026" creationId="{86E03592-89CA-32AE-612D-9341A202FAAD}"/>
          </ac:picMkLst>
        </pc:picChg>
      </pc:sldChg>
      <pc:sldChg chg="addSp delSp modSp new mod delAnim modAnim">
        <pc:chgData name="Yi Zhang" userId="d03fca4dc346cac8" providerId="LiveId" clId="{4E5A36B7-989F-465C-81B5-23DF07CF9D44}" dt="2023-09-27T10:51:46.812" v="1493"/>
        <pc:sldMkLst>
          <pc:docMk/>
          <pc:sldMk cId="2202323181" sldId="333"/>
        </pc:sldMkLst>
        <pc:spChg chg="del">
          <ac:chgData name="Yi Zhang" userId="d03fca4dc346cac8" providerId="LiveId" clId="{4E5A36B7-989F-465C-81B5-23DF07CF9D44}" dt="2023-09-26T09:40:46.738" v="97" actId="478"/>
          <ac:spMkLst>
            <pc:docMk/>
            <pc:sldMk cId="2202323181" sldId="333"/>
            <ac:spMk id="3" creationId="{38BAA926-3629-F96C-D99D-1DF2FF0FF5FE}"/>
          </ac:spMkLst>
        </pc:spChg>
        <pc:spChg chg="del">
          <ac:chgData name="Yi Zhang" userId="d03fca4dc346cac8" providerId="LiveId" clId="{4E5A36B7-989F-465C-81B5-23DF07CF9D44}" dt="2023-09-26T09:40:43.954" v="96" actId="478"/>
          <ac:spMkLst>
            <pc:docMk/>
            <pc:sldMk cId="2202323181" sldId="333"/>
            <ac:spMk id="4" creationId="{4A098BA8-6D64-DAC2-E4C4-A95380BD0057}"/>
          </ac:spMkLst>
        </pc:spChg>
        <pc:spChg chg="del">
          <ac:chgData name="Yi Zhang" userId="d03fca4dc346cac8" providerId="LiveId" clId="{4E5A36B7-989F-465C-81B5-23DF07CF9D44}" dt="2023-09-26T09:40:48.745" v="98" actId="478"/>
          <ac:spMkLst>
            <pc:docMk/>
            <pc:sldMk cId="2202323181" sldId="333"/>
            <ac:spMk id="5" creationId="{46A6BCCA-6A16-10F7-A2A0-EE6AACACAFED}"/>
          </ac:spMkLst>
        </pc:spChg>
        <pc:spChg chg="add mod">
          <ac:chgData name="Yi Zhang" userId="d03fca4dc346cac8" providerId="LiveId" clId="{4E5A36B7-989F-465C-81B5-23DF07CF9D44}" dt="2023-09-26T10:32:29.907" v="476" actId="20577"/>
          <ac:spMkLst>
            <pc:docMk/>
            <pc:sldMk cId="2202323181" sldId="333"/>
            <ac:spMk id="9" creationId="{F60726B5-A66F-C724-257C-D0CC3A9DE9E5}"/>
          </ac:spMkLst>
        </pc:spChg>
        <pc:picChg chg="add mod">
          <ac:chgData name="Yi Zhang" userId="d03fca4dc346cac8" providerId="LiveId" clId="{4E5A36B7-989F-465C-81B5-23DF07CF9D44}" dt="2023-09-27T10:51:28.879" v="1486" actId="1076"/>
          <ac:picMkLst>
            <pc:docMk/>
            <pc:sldMk cId="2202323181" sldId="333"/>
            <ac:picMk id="3" creationId="{86958344-6BD3-C899-8489-25CA971A12B4}"/>
          </ac:picMkLst>
        </pc:picChg>
        <pc:picChg chg="add mod">
          <ac:chgData name="Yi Zhang" userId="d03fca4dc346cac8" providerId="LiveId" clId="{4E5A36B7-989F-465C-81B5-23DF07CF9D44}" dt="2023-09-27T10:51:41.176" v="1492" actId="14100"/>
          <ac:picMkLst>
            <pc:docMk/>
            <pc:sldMk cId="2202323181" sldId="333"/>
            <ac:picMk id="4" creationId="{8C80DC12-0528-EE51-DB41-FFE13D768A28}"/>
          </ac:picMkLst>
        </pc:picChg>
        <pc:picChg chg="add del mod">
          <ac:chgData name="Yi Zhang" userId="d03fca4dc346cac8" providerId="LiveId" clId="{4E5A36B7-989F-465C-81B5-23DF07CF9D44}" dt="2023-09-26T09:41:18.662" v="100" actId="478"/>
          <ac:picMkLst>
            <pc:docMk/>
            <pc:sldMk cId="2202323181" sldId="333"/>
            <ac:picMk id="6" creationId="{203B4A5A-D799-72D4-93FC-77E30B56A380}"/>
          </ac:picMkLst>
        </pc:picChg>
        <pc:picChg chg="add del mod">
          <ac:chgData name="Yi Zhang" userId="d03fca4dc346cac8" providerId="LiveId" clId="{4E5A36B7-989F-465C-81B5-23DF07CF9D44}" dt="2023-09-27T10:51:18.986" v="1480" actId="478"/>
          <ac:picMkLst>
            <pc:docMk/>
            <pc:sldMk cId="2202323181" sldId="333"/>
            <ac:picMk id="7" creationId="{5A7E705A-6F5C-07C5-8BC7-8A3B828ACBAD}"/>
          </ac:picMkLst>
        </pc:picChg>
        <pc:picChg chg="add del mod">
          <ac:chgData name="Yi Zhang" userId="d03fca4dc346cac8" providerId="LiveId" clId="{4E5A36B7-989F-465C-81B5-23DF07CF9D44}" dt="2023-09-27T10:51:29.481" v="1487" actId="478"/>
          <ac:picMkLst>
            <pc:docMk/>
            <pc:sldMk cId="2202323181" sldId="333"/>
            <ac:picMk id="8" creationId="{E041B962-C8BD-F3D4-3B07-EBA039396ACC}"/>
          </ac:picMkLst>
        </pc:picChg>
      </pc:sldChg>
      <pc:sldChg chg="del">
        <pc:chgData name="Yi Zhang" userId="d03fca4dc346cac8" providerId="LiveId" clId="{4E5A36B7-989F-465C-81B5-23DF07CF9D44}" dt="2023-09-26T09:40:02.312" v="93" actId="47"/>
        <pc:sldMkLst>
          <pc:docMk/>
          <pc:sldMk cId="3696762385" sldId="333"/>
        </pc:sldMkLst>
      </pc:sldChg>
      <pc:sldChg chg="addSp delSp modSp add mod">
        <pc:chgData name="Yi Zhang" userId="d03fca4dc346cac8" providerId="LiveId" clId="{4E5A36B7-989F-465C-81B5-23DF07CF9D44}" dt="2023-09-27T09:14:18.928" v="1328" actId="207"/>
        <pc:sldMkLst>
          <pc:docMk/>
          <pc:sldMk cId="843391225" sldId="334"/>
        </pc:sldMkLst>
        <pc:spChg chg="add mod">
          <ac:chgData name="Yi Zhang" userId="d03fca4dc346cac8" providerId="LiveId" clId="{4E5A36B7-989F-465C-81B5-23DF07CF9D44}" dt="2023-09-27T09:14:16.836" v="1327" actId="207"/>
          <ac:spMkLst>
            <pc:docMk/>
            <pc:sldMk cId="843391225" sldId="334"/>
            <ac:spMk id="5" creationId="{85ED8A37-1E33-8641-9670-753D0E5693EC}"/>
          </ac:spMkLst>
        </pc:spChg>
        <pc:spChg chg="add mod">
          <ac:chgData name="Yi Zhang" userId="d03fca4dc346cac8" providerId="LiveId" clId="{4E5A36B7-989F-465C-81B5-23DF07CF9D44}" dt="2023-09-27T09:14:18.928" v="1328" actId="207"/>
          <ac:spMkLst>
            <pc:docMk/>
            <pc:sldMk cId="843391225" sldId="334"/>
            <ac:spMk id="6" creationId="{6089ECC0-A3A2-C4B6-77DD-32104716FC87}"/>
          </ac:spMkLst>
        </pc:spChg>
        <pc:spChg chg="del mod">
          <ac:chgData name="Yi Zhang" userId="d03fca4dc346cac8" providerId="LiveId" clId="{4E5A36B7-989F-465C-81B5-23DF07CF9D44}" dt="2023-09-27T09:13:34.408" v="1318" actId="478"/>
          <ac:spMkLst>
            <pc:docMk/>
            <pc:sldMk cId="843391225" sldId="334"/>
            <ac:spMk id="36" creationId="{0BF06679-3BA0-CA31-98DB-0BF911A3CE61}"/>
          </ac:spMkLst>
        </pc:spChg>
        <pc:spChg chg="del mod">
          <ac:chgData name="Yi Zhang" userId="d03fca4dc346cac8" providerId="LiveId" clId="{4E5A36B7-989F-465C-81B5-23DF07CF9D44}" dt="2023-09-27T09:13:37.843" v="1323" actId="478"/>
          <ac:spMkLst>
            <pc:docMk/>
            <pc:sldMk cId="843391225" sldId="334"/>
            <ac:spMk id="102" creationId="{8D192BB8-0599-7FD5-D74A-054D90E1A7BB}"/>
          </ac:spMkLst>
        </pc:spChg>
        <pc:cxnChg chg="add mod">
          <ac:chgData name="Yi Zhang" userId="d03fca4dc346cac8" providerId="LiveId" clId="{4E5A36B7-989F-465C-81B5-23DF07CF9D44}" dt="2023-09-27T09:14:08.939" v="1325" actId="208"/>
          <ac:cxnSpMkLst>
            <pc:docMk/>
            <pc:sldMk cId="843391225" sldId="334"/>
            <ac:cxnSpMk id="2" creationId="{C620EA99-099D-8039-2177-DD18F59D43A0}"/>
          </ac:cxnSpMkLst>
        </pc:cxnChg>
        <pc:cxnChg chg="add mod">
          <ac:chgData name="Yi Zhang" userId="d03fca4dc346cac8" providerId="LiveId" clId="{4E5A36B7-989F-465C-81B5-23DF07CF9D44}" dt="2023-09-27T09:14:08.939" v="1325" actId="208"/>
          <ac:cxnSpMkLst>
            <pc:docMk/>
            <pc:sldMk cId="843391225" sldId="334"/>
            <ac:cxnSpMk id="3" creationId="{B972864D-D7DC-09A7-FED5-5BFC275D08D0}"/>
          </ac:cxnSpMkLst>
        </pc:cxnChg>
        <pc:cxnChg chg="add mod">
          <ac:chgData name="Yi Zhang" userId="d03fca4dc346cac8" providerId="LiveId" clId="{4E5A36B7-989F-465C-81B5-23DF07CF9D44}" dt="2023-09-27T09:14:08.939" v="1325" actId="208"/>
          <ac:cxnSpMkLst>
            <pc:docMk/>
            <pc:sldMk cId="843391225" sldId="334"/>
            <ac:cxnSpMk id="4" creationId="{1F355421-6BC0-0C79-72E3-1E616107DEB8}"/>
          </ac:cxnSpMkLst>
        </pc:cxnChg>
        <pc:cxnChg chg="del mod">
          <ac:chgData name="Yi Zhang" userId="d03fca4dc346cac8" providerId="LiveId" clId="{4E5A36B7-989F-465C-81B5-23DF07CF9D44}" dt="2023-09-27T09:13:34.968" v="1319" actId="478"/>
          <ac:cxnSpMkLst>
            <pc:docMk/>
            <pc:sldMk cId="843391225" sldId="334"/>
            <ac:cxnSpMk id="80" creationId="{CE7E4053-4FA9-2C3C-008B-C93EA063B0E0}"/>
          </ac:cxnSpMkLst>
        </pc:cxnChg>
        <pc:cxnChg chg="del mod">
          <ac:chgData name="Yi Zhang" userId="d03fca4dc346cac8" providerId="LiveId" clId="{4E5A36B7-989F-465C-81B5-23DF07CF9D44}" dt="2023-09-27T09:13:35.648" v="1320" actId="478"/>
          <ac:cxnSpMkLst>
            <pc:docMk/>
            <pc:sldMk cId="843391225" sldId="334"/>
            <ac:cxnSpMk id="81" creationId="{C9FFACDA-8163-7682-3295-827E56A89506}"/>
          </ac:cxnSpMkLst>
        </pc:cxnChg>
        <pc:cxnChg chg="del mod">
          <ac:chgData name="Yi Zhang" userId="d03fca4dc346cac8" providerId="LiveId" clId="{4E5A36B7-989F-465C-81B5-23DF07CF9D44}" dt="2023-09-27T09:13:36.391" v="1321" actId="478"/>
          <ac:cxnSpMkLst>
            <pc:docMk/>
            <pc:sldMk cId="843391225" sldId="334"/>
            <ac:cxnSpMk id="99" creationId="{65CF4331-C3DE-365D-AC17-90706E1C2C2A}"/>
          </ac:cxnSpMkLst>
        </pc:cxnChg>
      </pc:sldChg>
      <pc:sldChg chg="addSp delSp modSp add mod delAnim modAnim">
        <pc:chgData name="Yi Zhang" userId="d03fca4dc346cac8" providerId="LiveId" clId="{4E5A36B7-989F-465C-81B5-23DF07CF9D44}" dt="2023-09-27T09:11:49.706" v="1185"/>
        <pc:sldMkLst>
          <pc:docMk/>
          <pc:sldMk cId="2662386739" sldId="335"/>
        </pc:sldMkLst>
        <pc:spChg chg="add mod">
          <ac:chgData name="Yi Zhang" userId="d03fca4dc346cac8" providerId="LiveId" clId="{4E5A36B7-989F-465C-81B5-23DF07CF9D44}" dt="2023-09-26T10:04:54.287" v="157"/>
          <ac:spMkLst>
            <pc:docMk/>
            <pc:sldMk cId="2662386739" sldId="335"/>
            <ac:spMk id="2" creationId="{930D40D2-F0E2-5245-F81E-AEBFEAC94122}"/>
          </ac:spMkLst>
        </pc:spChg>
        <pc:spChg chg="add mod">
          <ac:chgData name="Yi Zhang" userId="d03fca4dc346cac8" providerId="LiveId" clId="{4E5A36B7-989F-465C-81B5-23DF07CF9D44}" dt="2023-09-26T10:04:54.287" v="157"/>
          <ac:spMkLst>
            <pc:docMk/>
            <pc:sldMk cId="2662386739" sldId="335"/>
            <ac:spMk id="6" creationId="{3025FDEF-76F6-1B0B-E846-B3AA5B96AB5B}"/>
          </ac:spMkLst>
        </pc:spChg>
        <pc:spChg chg="add mod">
          <ac:chgData name="Yi Zhang" userId="d03fca4dc346cac8" providerId="LiveId" clId="{4E5A36B7-989F-465C-81B5-23DF07CF9D44}" dt="2023-09-26T10:04:54.287" v="157"/>
          <ac:spMkLst>
            <pc:docMk/>
            <pc:sldMk cId="2662386739" sldId="335"/>
            <ac:spMk id="8" creationId="{6726F384-9168-A70E-E675-4674C0730AEC}"/>
          </ac:spMkLst>
        </pc:spChg>
        <pc:spChg chg="add mod">
          <ac:chgData name="Yi Zhang" userId="d03fca4dc346cac8" providerId="LiveId" clId="{4E5A36B7-989F-465C-81B5-23DF07CF9D44}" dt="2023-09-26T10:04:54.287" v="157"/>
          <ac:spMkLst>
            <pc:docMk/>
            <pc:sldMk cId="2662386739" sldId="335"/>
            <ac:spMk id="9" creationId="{46B4C196-11B5-34F5-818F-35C3FF2439F9}"/>
          </ac:spMkLst>
        </pc:spChg>
        <pc:spChg chg="add mod">
          <ac:chgData name="Yi Zhang" userId="d03fca4dc346cac8" providerId="LiveId" clId="{4E5A36B7-989F-465C-81B5-23DF07CF9D44}" dt="2023-09-26T10:04:54.287" v="157"/>
          <ac:spMkLst>
            <pc:docMk/>
            <pc:sldMk cId="2662386739" sldId="335"/>
            <ac:spMk id="10" creationId="{F2D3A7DB-795A-2A11-48B2-18A94B1C44EC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12" creationId="{549B3137-E910-88AF-7D0D-5532D246AF30}"/>
          </ac:spMkLst>
        </pc:spChg>
        <pc:spChg chg="add mod">
          <ac:chgData name="Yi Zhang" userId="d03fca4dc346cac8" providerId="LiveId" clId="{4E5A36B7-989F-465C-81B5-23DF07CF9D44}" dt="2023-09-26T10:06:47.865" v="320" actId="1076"/>
          <ac:spMkLst>
            <pc:docMk/>
            <pc:sldMk cId="2662386739" sldId="335"/>
            <ac:spMk id="19" creationId="{29EA90A1-7620-2AF5-9100-F31124F66560}"/>
          </ac:spMkLst>
        </pc:spChg>
        <pc:spChg chg="del">
          <ac:chgData name="Yi Zhang" userId="d03fca4dc346cac8" providerId="LiveId" clId="{4E5A36B7-989F-465C-81B5-23DF07CF9D44}" dt="2023-09-26T10:04:41.383" v="152" actId="478"/>
          <ac:spMkLst>
            <pc:docMk/>
            <pc:sldMk cId="2662386739" sldId="335"/>
            <ac:spMk id="28" creationId="{55EAE7F8-BD45-0765-6FFD-545F3EB51018}"/>
          </ac:spMkLst>
        </pc:spChg>
        <pc:spChg chg="del">
          <ac:chgData name="Yi Zhang" userId="d03fca4dc346cac8" providerId="LiveId" clId="{4E5A36B7-989F-465C-81B5-23DF07CF9D44}" dt="2023-09-26T10:04:41.383" v="152" actId="478"/>
          <ac:spMkLst>
            <pc:docMk/>
            <pc:sldMk cId="2662386739" sldId="335"/>
            <ac:spMk id="30" creationId="{EA39C3E0-C94C-E72E-1769-A45252A6D5CA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32" creationId="{441711FD-35EB-A80E-2003-9B1C5A7B208B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34" creationId="{6B04300E-322E-75D9-3160-3C30F7F0DE07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36" creationId="{0BF06679-3BA0-CA31-98DB-0BF911A3CE61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38" creationId="{6E007BF5-CE59-478D-0D65-C416A0B0275E}"/>
          </ac:spMkLst>
        </pc:spChg>
        <pc:spChg chg="del">
          <ac:chgData name="Yi Zhang" userId="d03fca4dc346cac8" providerId="LiveId" clId="{4E5A36B7-989F-465C-81B5-23DF07CF9D44}" dt="2023-09-26T10:04:46.805" v="155" actId="478"/>
          <ac:spMkLst>
            <pc:docMk/>
            <pc:sldMk cId="2662386739" sldId="335"/>
            <ac:spMk id="85" creationId="{8B68C588-3D5E-0C14-7EEF-CA84D0D0D7EE}"/>
          </ac:spMkLst>
        </pc:spChg>
        <pc:spChg chg="del mod">
          <ac:chgData name="Yi Zhang" userId="d03fca4dc346cac8" providerId="LiveId" clId="{4E5A36B7-989F-465C-81B5-23DF07CF9D44}" dt="2023-09-26T10:04:47.777" v="156" actId="478"/>
          <ac:spMkLst>
            <pc:docMk/>
            <pc:sldMk cId="2662386739" sldId="335"/>
            <ac:spMk id="90" creationId="{B2DB6C38-C239-EF35-DF3B-E1ADAC65DA28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116" creationId="{F890BACA-B46C-1AE5-B840-ABDA86537A30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117" creationId="{2EF5FDBC-E9F0-2071-CB0F-78D468EB4561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118" creationId="{5B4C191D-1888-6F8B-A227-D337150249E5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119" creationId="{19930F78-D050-0D3A-0FB2-1CBA56B870AB}"/>
          </ac:spMkLst>
        </pc:spChg>
        <pc:spChg chg="del">
          <ac:chgData name="Yi Zhang" userId="d03fca4dc346cac8" providerId="LiveId" clId="{4E5A36B7-989F-465C-81B5-23DF07CF9D44}" dt="2023-09-26T10:04:43.747" v="153" actId="478"/>
          <ac:spMkLst>
            <pc:docMk/>
            <pc:sldMk cId="2662386739" sldId="335"/>
            <ac:spMk id="126" creationId="{37A38348-0D7F-8099-1E08-7BCB6F53D076}"/>
          </ac:spMkLst>
        </pc:spChg>
        <pc:picChg chg="add mod">
          <ac:chgData name="Yi Zhang" userId="d03fca4dc346cac8" providerId="LiveId" clId="{4E5A36B7-989F-465C-81B5-23DF07CF9D44}" dt="2023-09-26T10:04:58.447" v="159" actId="1076"/>
          <ac:picMkLst>
            <pc:docMk/>
            <pc:sldMk cId="2662386739" sldId="335"/>
            <ac:picMk id="17" creationId="{0D590AC9-AFEE-FD89-6F1C-E45FDD5132CE}"/>
          </ac:picMkLst>
        </pc:picChg>
        <pc:cxnChg chg="add mod">
          <ac:chgData name="Yi Zhang" userId="d03fca4dc346cac8" providerId="LiveId" clId="{4E5A36B7-989F-465C-81B5-23DF07CF9D44}" dt="2023-09-26T10:04:54.287" v="157"/>
          <ac:cxnSpMkLst>
            <pc:docMk/>
            <pc:sldMk cId="2662386739" sldId="335"/>
            <ac:cxnSpMk id="3" creationId="{8406FCF4-B113-0FE7-46B9-AEB26E813182}"/>
          </ac:cxnSpMkLst>
        </pc:cxnChg>
        <pc:cxnChg chg="add mod">
          <ac:chgData name="Yi Zhang" userId="d03fca4dc346cac8" providerId="LiveId" clId="{4E5A36B7-989F-465C-81B5-23DF07CF9D44}" dt="2023-09-26T10:04:54.287" v="157"/>
          <ac:cxnSpMkLst>
            <pc:docMk/>
            <pc:sldMk cId="2662386739" sldId="335"/>
            <ac:cxnSpMk id="4" creationId="{3A4CB096-506F-910A-0DFC-7B610EB0EFB0}"/>
          </ac:cxnSpMkLst>
        </pc:cxnChg>
        <pc:cxnChg chg="add mod">
          <ac:chgData name="Yi Zhang" userId="d03fca4dc346cac8" providerId="LiveId" clId="{4E5A36B7-989F-465C-81B5-23DF07CF9D44}" dt="2023-09-26T10:04:54.287" v="157"/>
          <ac:cxnSpMkLst>
            <pc:docMk/>
            <pc:sldMk cId="2662386739" sldId="335"/>
            <ac:cxnSpMk id="5" creationId="{7135D93F-2A4E-3AB0-07E8-874B9D0C0B29}"/>
          </ac:cxnSpMkLst>
        </pc:cxnChg>
        <pc:cxnChg chg="add mod">
          <ac:chgData name="Yi Zhang" userId="d03fca4dc346cac8" providerId="LiveId" clId="{4E5A36B7-989F-465C-81B5-23DF07CF9D44}" dt="2023-09-26T10:04:54.287" v="157"/>
          <ac:cxnSpMkLst>
            <pc:docMk/>
            <pc:sldMk cId="2662386739" sldId="335"/>
            <ac:cxnSpMk id="11" creationId="{0505F1A6-BC74-432C-70F8-5DF9B0DAABA0}"/>
          </ac:cxnSpMkLst>
        </pc:cxnChg>
        <pc:cxnChg chg="add mod">
          <ac:chgData name="Yi Zhang" userId="d03fca4dc346cac8" providerId="LiveId" clId="{4E5A36B7-989F-465C-81B5-23DF07CF9D44}" dt="2023-09-26T10:04:54.287" v="157"/>
          <ac:cxnSpMkLst>
            <pc:docMk/>
            <pc:sldMk cId="2662386739" sldId="335"/>
            <ac:cxnSpMk id="13" creationId="{9E9312BD-3C84-FEAE-6254-4E3DADBED9B4}"/>
          </ac:cxnSpMkLst>
        </pc:cxnChg>
        <pc:cxnChg chg="add mod">
          <ac:chgData name="Yi Zhang" userId="d03fca4dc346cac8" providerId="LiveId" clId="{4E5A36B7-989F-465C-81B5-23DF07CF9D44}" dt="2023-09-26T10:04:54.287" v="157"/>
          <ac:cxnSpMkLst>
            <pc:docMk/>
            <pc:sldMk cId="2662386739" sldId="335"/>
            <ac:cxnSpMk id="14" creationId="{C3FB2548-82BA-9C62-758C-ACB23E4910A7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15" creationId="{3F2EE543-0636-75B2-4D68-6BF48FA9F393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18" creationId="{64E67345-AA51-3369-F57A-34DACBA6D950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24" creationId="{9086131C-4672-2975-EA04-AD021555BB71}"/>
          </ac:cxnSpMkLst>
        </pc:cxnChg>
        <pc:cxnChg chg="del">
          <ac:chgData name="Yi Zhang" userId="d03fca4dc346cac8" providerId="LiveId" clId="{4E5A36B7-989F-465C-81B5-23DF07CF9D44}" dt="2023-09-26T10:04:41.383" v="152" actId="478"/>
          <ac:cxnSpMkLst>
            <pc:docMk/>
            <pc:sldMk cId="2662386739" sldId="335"/>
            <ac:cxnSpMk id="26" creationId="{79056889-B496-3586-A1D3-333CCA984373}"/>
          </ac:cxnSpMkLst>
        </pc:cxnChg>
        <pc:cxnChg chg="del">
          <ac:chgData name="Yi Zhang" userId="d03fca4dc346cac8" providerId="LiveId" clId="{4E5A36B7-989F-465C-81B5-23DF07CF9D44}" dt="2023-09-26T10:04:41.383" v="152" actId="478"/>
          <ac:cxnSpMkLst>
            <pc:docMk/>
            <pc:sldMk cId="2662386739" sldId="335"/>
            <ac:cxnSpMk id="27" creationId="{8EB929F0-789F-74E6-6011-D54AA56E41AD}"/>
          </ac:cxnSpMkLst>
        </pc:cxnChg>
        <pc:cxnChg chg="del">
          <ac:chgData name="Yi Zhang" userId="d03fca4dc346cac8" providerId="LiveId" clId="{4E5A36B7-989F-465C-81B5-23DF07CF9D44}" dt="2023-09-26T10:04:41.383" v="152" actId="478"/>
          <ac:cxnSpMkLst>
            <pc:docMk/>
            <pc:sldMk cId="2662386739" sldId="335"/>
            <ac:cxnSpMk id="29" creationId="{BFED2999-F0DD-2E92-F031-4B2E2657E8DC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33" creationId="{E58BB2F0-D282-982F-0835-D0D732DAB1A9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35" creationId="{8765A6E8-FA6E-9B40-03CA-29FC2A53E4E6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37" creationId="{17DED12E-3D94-7066-217D-0A8925B3083A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83" creationId="{26A04DC1-0938-D9A8-24D2-2164C5905F57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115" creationId="{5B3D263A-8951-35C4-0EBB-16506C18781C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120" creationId="{6D648EF2-9B24-C282-5F24-25A2EFBDE7CA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121" creationId="{7803DABB-AA7C-6026-07C9-42FC43F2D3DE}"/>
          </ac:cxnSpMkLst>
        </pc:cxnChg>
        <pc:cxnChg chg="del">
          <ac:chgData name="Yi Zhang" userId="d03fca4dc346cac8" providerId="LiveId" clId="{4E5A36B7-989F-465C-81B5-23DF07CF9D44}" dt="2023-09-26T10:04:43.747" v="153" actId="478"/>
          <ac:cxnSpMkLst>
            <pc:docMk/>
            <pc:sldMk cId="2662386739" sldId="335"/>
            <ac:cxnSpMk id="122" creationId="{26C5CF43-B57F-3954-8FA0-DD22819FAD88}"/>
          </ac:cxnSpMkLst>
        </pc:cxnChg>
        <pc:cxnChg chg="del">
          <ac:chgData name="Yi Zhang" userId="d03fca4dc346cac8" providerId="LiveId" clId="{4E5A36B7-989F-465C-81B5-23DF07CF9D44}" dt="2023-09-26T10:04:41.383" v="152" actId="478"/>
          <ac:cxnSpMkLst>
            <pc:docMk/>
            <pc:sldMk cId="2662386739" sldId="335"/>
            <ac:cxnSpMk id="125" creationId="{FDAB03B1-BC7C-C966-96CB-BE30AAB750C8}"/>
          </ac:cxnSpMkLst>
        </pc:cxnChg>
      </pc:sldChg>
      <pc:sldChg chg="addSp delSp modSp new mod modAnim">
        <pc:chgData name="Yi Zhang" userId="d03fca4dc346cac8" providerId="LiveId" clId="{4E5A36B7-989F-465C-81B5-23DF07CF9D44}" dt="2023-09-27T09:26:59.720" v="1412"/>
        <pc:sldMkLst>
          <pc:docMk/>
          <pc:sldMk cId="1784144528" sldId="336"/>
        </pc:sldMkLst>
        <pc:spChg chg="mod">
          <ac:chgData name="Yi Zhang" userId="d03fca4dc346cac8" providerId="LiveId" clId="{4E5A36B7-989F-465C-81B5-23DF07CF9D44}" dt="2023-09-26T11:22:31.349" v="483" actId="20577"/>
          <ac:spMkLst>
            <pc:docMk/>
            <pc:sldMk cId="1784144528" sldId="336"/>
            <ac:spMk id="3" creationId="{01AAB735-5611-A178-54C0-45DCE0855A42}"/>
          </ac:spMkLst>
        </pc:spChg>
        <pc:spChg chg="del">
          <ac:chgData name="Yi Zhang" userId="d03fca4dc346cac8" providerId="LiveId" clId="{4E5A36B7-989F-465C-81B5-23DF07CF9D44}" dt="2023-09-26T11:22:34.051" v="484" actId="478"/>
          <ac:spMkLst>
            <pc:docMk/>
            <pc:sldMk cId="1784144528" sldId="336"/>
            <ac:spMk id="4" creationId="{939DC83B-F47B-5C94-B6A4-FD0F1488557F}"/>
          </ac:spMkLst>
        </pc:spChg>
        <pc:spChg chg="add del mod">
          <ac:chgData name="Yi Zhang" userId="d03fca4dc346cac8" providerId="LiveId" clId="{4E5A36B7-989F-465C-81B5-23DF07CF9D44}" dt="2023-09-27T08:28:16.685" v="532" actId="478"/>
          <ac:spMkLst>
            <pc:docMk/>
            <pc:sldMk cId="1784144528" sldId="336"/>
            <ac:spMk id="4" creationId="{CB568B6F-4E40-6353-F7A6-E927708F9E9E}"/>
          </ac:spMkLst>
        </pc:spChg>
        <pc:spChg chg="del">
          <ac:chgData name="Yi Zhang" userId="d03fca4dc346cac8" providerId="LiveId" clId="{4E5A36B7-989F-465C-81B5-23DF07CF9D44}" dt="2023-09-26T11:22:34.847" v="485" actId="478"/>
          <ac:spMkLst>
            <pc:docMk/>
            <pc:sldMk cId="1784144528" sldId="336"/>
            <ac:spMk id="5" creationId="{49FCA0C4-75A4-97EB-BDDF-980BC8ECA5DF}"/>
          </ac:spMkLst>
        </pc:spChg>
        <pc:spChg chg="add mod">
          <ac:chgData name="Yi Zhang" userId="d03fca4dc346cac8" providerId="LiveId" clId="{4E5A36B7-989F-465C-81B5-23DF07CF9D44}" dt="2023-09-27T08:55:49.467" v="804" actId="1076"/>
          <ac:spMkLst>
            <pc:docMk/>
            <pc:sldMk cId="1784144528" sldId="336"/>
            <ac:spMk id="5" creationId="{A88DE2A2-46E6-B941-2B1E-A1F594047D60}"/>
          </ac:spMkLst>
        </pc:spChg>
        <pc:spChg chg="add del mod">
          <ac:chgData name="Yi Zhang" userId="d03fca4dc346cac8" providerId="LiveId" clId="{4E5A36B7-989F-465C-81B5-23DF07CF9D44}" dt="2023-09-26T11:24:16.207" v="498" actId="478"/>
          <ac:spMkLst>
            <pc:docMk/>
            <pc:sldMk cId="1784144528" sldId="336"/>
            <ac:spMk id="6" creationId="{F36B9E0B-815F-4C70-2F90-AA45D6A8B770}"/>
          </ac:spMkLst>
        </pc:spChg>
        <pc:spChg chg="add del">
          <ac:chgData name="Yi Zhang" userId="d03fca4dc346cac8" providerId="LiveId" clId="{4E5A36B7-989F-465C-81B5-23DF07CF9D44}" dt="2023-09-27T08:28:35.715" v="536"/>
          <ac:spMkLst>
            <pc:docMk/>
            <pc:sldMk cId="1784144528" sldId="336"/>
            <ac:spMk id="6" creationId="{F912D174-DFC3-1840-0839-1BA2766A96E0}"/>
          </ac:spMkLst>
        </pc:spChg>
        <pc:spChg chg="add mod">
          <ac:chgData name="Yi Zhang" userId="d03fca4dc346cac8" providerId="LiveId" clId="{4E5A36B7-989F-465C-81B5-23DF07CF9D44}" dt="2023-09-27T08:55:47.220" v="803" actId="1076"/>
          <ac:spMkLst>
            <pc:docMk/>
            <pc:sldMk cId="1784144528" sldId="336"/>
            <ac:spMk id="7" creationId="{26B2C1A9-81D1-43BE-C90F-795BAA10DB32}"/>
          </ac:spMkLst>
        </pc:spChg>
        <pc:spChg chg="add del mod">
          <ac:chgData name="Yi Zhang" userId="d03fca4dc346cac8" providerId="LiveId" clId="{4E5A36B7-989F-465C-81B5-23DF07CF9D44}" dt="2023-09-27T08:28:07.121" v="529" actId="478"/>
          <ac:spMkLst>
            <pc:docMk/>
            <pc:sldMk cId="1784144528" sldId="336"/>
            <ac:spMk id="8" creationId="{C50AB73E-C483-D13C-BDC7-8803E81EEE13}"/>
          </ac:spMkLst>
        </pc:spChg>
        <pc:spChg chg="add mod">
          <ac:chgData name="Yi Zhang" userId="d03fca4dc346cac8" providerId="LiveId" clId="{4E5A36B7-989F-465C-81B5-23DF07CF9D44}" dt="2023-09-27T09:04:13.875" v="1105" actId="1076"/>
          <ac:spMkLst>
            <pc:docMk/>
            <pc:sldMk cId="1784144528" sldId="336"/>
            <ac:spMk id="9" creationId="{B8958AD2-B3DD-D1AF-C8CC-BE9C17926EA3}"/>
          </ac:spMkLst>
        </pc:spChg>
        <pc:spChg chg="add del mod">
          <ac:chgData name="Yi Zhang" userId="d03fca4dc346cac8" providerId="LiveId" clId="{4E5A36B7-989F-465C-81B5-23DF07CF9D44}" dt="2023-09-27T08:29:58.876" v="564" actId="478"/>
          <ac:spMkLst>
            <pc:docMk/>
            <pc:sldMk cId="1784144528" sldId="336"/>
            <ac:spMk id="10" creationId="{393C261F-545D-8476-1128-7AE2543EB61D}"/>
          </ac:spMkLst>
        </pc:spChg>
        <pc:spChg chg="add mod">
          <ac:chgData name="Yi Zhang" userId="d03fca4dc346cac8" providerId="LiveId" clId="{4E5A36B7-989F-465C-81B5-23DF07CF9D44}" dt="2023-09-27T09:26:44.714" v="1408" actId="1076"/>
          <ac:spMkLst>
            <pc:docMk/>
            <pc:sldMk cId="1784144528" sldId="336"/>
            <ac:spMk id="11" creationId="{4EF3815D-8172-9E08-25A0-3A694A638171}"/>
          </ac:spMkLst>
        </pc:spChg>
        <pc:spChg chg="add del mod">
          <ac:chgData name="Yi Zhang" userId="d03fca4dc346cac8" providerId="LiveId" clId="{4E5A36B7-989F-465C-81B5-23DF07CF9D44}" dt="2023-09-27T08:39:03.864" v="588"/>
          <ac:spMkLst>
            <pc:docMk/>
            <pc:sldMk cId="1784144528" sldId="336"/>
            <ac:spMk id="14" creationId="{6A5E2294-EFA3-8D3C-F4FB-2D914CA8EF0F}"/>
          </ac:spMkLst>
        </pc:spChg>
        <pc:spChg chg="add mod">
          <ac:chgData name="Yi Zhang" userId="d03fca4dc346cac8" providerId="LiveId" clId="{4E5A36B7-989F-465C-81B5-23DF07CF9D44}" dt="2023-09-27T09:26:44.714" v="1408" actId="1076"/>
          <ac:spMkLst>
            <pc:docMk/>
            <pc:sldMk cId="1784144528" sldId="336"/>
            <ac:spMk id="15" creationId="{29CBD9F4-508E-6745-4B77-281070E76C6E}"/>
          </ac:spMkLst>
        </pc:spChg>
        <pc:spChg chg="add mod">
          <ac:chgData name="Yi Zhang" userId="d03fca4dc346cac8" providerId="LiveId" clId="{4E5A36B7-989F-465C-81B5-23DF07CF9D44}" dt="2023-09-27T09:26:44.714" v="1408" actId="1076"/>
          <ac:spMkLst>
            <pc:docMk/>
            <pc:sldMk cId="1784144528" sldId="336"/>
            <ac:spMk id="16" creationId="{90AD6028-8280-5FDC-023E-F7E7E2EAB025}"/>
          </ac:spMkLst>
        </pc:spChg>
        <pc:spChg chg="add mod">
          <ac:chgData name="Yi Zhang" userId="d03fca4dc346cac8" providerId="LiveId" clId="{4E5A36B7-989F-465C-81B5-23DF07CF9D44}" dt="2023-09-27T09:26:40.542" v="1407" actId="1076"/>
          <ac:spMkLst>
            <pc:docMk/>
            <pc:sldMk cId="1784144528" sldId="336"/>
            <ac:spMk id="18" creationId="{FEB8D974-DE23-1BE7-4A2E-5A60EBABEB64}"/>
          </ac:spMkLst>
        </pc:spChg>
        <pc:picChg chg="add mod ord">
          <ac:chgData name="Yi Zhang" userId="d03fca4dc346cac8" providerId="LiveId" clId="{4E5A36B7-989F-465C-81B5-23DF07CF9D44}" dt="2023-09-27T09:26:29.768" v="1401" actId="1076"/>
          <ac:picMkLst>
            <pc:docMk/>
            <pc:sldMk cId="1784144528" sldId="336"/>
            <ac:picMk id="13" creationId="{33578643-3A21-DCB7-D7F2-571F124B5030}"/>
          </ac:picMkLst>
        </pc:picChg>
        <pc:picChg chg="add mod">
          <ac:chgData name="Yi Zhang" userId="d03fca4dc346cac8" providerId="LiveId" clId="{4E5A36B7-989F-465C-81B5-23DF07CF9D44}" dt="2023-09-27T09:24:52.229" v="1384" actId="1076"/>
          <ac:picMkLst>
            <pc:docMk/>
            <pc:sldMk cId="1784144528" sldId="336"/>
            <ac:picMk id="17" creationId="{9AA8B4C0-AF54-EB03-691B-EB41277DB37B}"/>
          </ac:picMkLst>
        </pc:picChg>
      </pc:sldChg>
      <pc:sldChg chg="addSp delSp modSp new mod modAnim">
        <pc:chgData name="Yi Zhang" userId="d03fca4dc346cac8" providerId="LiveId" clId="{4E5A36B7-989F-465C-81B5-23DF07CF9D44}" dt="2023-09-27T09:24:20.348" v="1383" actId="20577"/>
        <pc:sldMkLst>
          <pc:docMk/>
          <pc:sldMk cId="3624315003" sldId="337"/>
        </pc:sldMkLst>
        <pc:spChg chg="mod">
          <ac:chgData name="Yi Zhang" userId="d03fca4dc346cac8" providerId="LiveId" clId="{4E5A36B7-989F-465C-81B5-23DF07CF9D44}" dt="2023-09-27T08:39:20.976" v="600" actId="20577"/>
          <ac:spMkLst>
            <pc:docMk/>
            <pc:sldMk cId="3624315003" sldId="337"/>
            <ac:spMk id="3" creationId="{5F1B0AAC-F3A0-5E67-E802-75717AA1D85A}"/>
          </ac:spMkLst>
        </pc:spChg>
        <pc:spChg chg="del">
          <ac:chgData name="Yi Zhang" userId="d03fca4dc346cac8" providerId="LiveId" clId="{4E5A36B7-989F-465C-81B5-23DF07CF9D44}" dt="2023-09-27T08:39:25.300" v="602" actId="478"/>
          <ac:spMkLst>
            <pc:docMk/>
            <pc:sldMk cId="3624315003" sldId="337"/>
            <ac:spMk id="4" creationId="{D7BF91FA-D538-3337-08F8-8B722BC02D57}"/>
          </ac:spMkLst>
        </pc:spChg>
        <pc:spChg chg="del">
          <ac:chgData name="Yi Zhang" userId="d03fca4dc346cac8" providerId="LiveId" clId="{4E5A36B7-989F-465C-81B5-23DF07CF9D44}" dt="2023-09-27T08:39:24.287" v="601" actId="478"/>
          <ac:spMkLst>
            <pc:docMk/>
            <pc:sldMk cId="3624315003" sldId="337"/>
            <ac:spMk id="5" creationId="{658E6EEC-A320-6312-01BB-F1E09B9DDC02}"/>
          </ac:spMkLst>
        </pc:spChg>
        <pc:spChg chg="add mod">
          <ac:chgData name="Yi Zhang" userId="d03fca4dc346cac8" providerId="LiveId" clId="{4E5A36B7-989F-465C-81B5-23DF07CF9D44}" dt="2023-09-27T08:56:47.062" v="850" actId="1076"/>
          <ac:spMkLst>
            <pc:docMk/>
            <pc:sldMk cId="3624315003" sldId="337"/>
            <ac:spMk id="6" creationId="{93A06F05-A858-C137-249F-6BE6C1907E92}"/>
          </ac:spMkLst>
        </pc:spChg>
        <pc:spChg chg="add mod">
          <ac:chgData name="Yi Zhang" userId="d03fca4dc346cac8" providerId="LiveId" clId="{4E5A36B7-989F-465C-81B5-23DF07CF9D44}" dt="2023-09-27T09:24:20.348" v="1383" actId="20577"/>
          <ac:spMkLst>
            <pc:docMk/>
            <pc:sldMk cId="3624315003" sldId="337"/>
            <ac:spMk id="7" creationId="{83BC16E0-2713-D166-A16E-612DAD73A561}"/>
          </ac:spMkLst>
        </pc:spChg>
        <pc:spChg chg="add mod">
          <ac:chgData name="Yi Zhang" userId="d03fca4dc346cac8" providerId="LiveId" clId="{4E5A36B7-989F-465C-81B5-23DF07CF9D44}" dt="2023-09-27T08:56:54.274" v="853" actId="1076"/>
          <ac:spMkLst>
            <pc:docMk/>
            <pc:sldMk cId="3624315003" sldId="337"/>
            <ac:spMk id="8" creationId="{A6BD425A-DBFD-DEC4-B75F-9F611A174934}"/>
          </ac:spMkLst>
        </pc:spChg>
        <pc:picChg chg="add mod">
          <ac:chgData name="Yi Zhang" userId="d03fca4dc346cac8" providerId="LiveId" clId="{4E5A36B7-989F-465C-81B5-23DF07CF9D44}" dt="2023-09-27T08:56:57.287" v="854" actId="1076"/>
          <ac:picMkLst>
            <pc:docMk/>
            <pc:sldMk cId="3624315003" sldId="337"/>
            <ac:picMk id="10" creationId="{05B8C8DF-77A9-2F15-FB88-919BEEDC4B7F}"/>
          </ac:picMkLst>
        </pc:picChg>
        <pc:picChg chg="add mod">
          <ac:chgData name="Yi Zhang" userId="d03fca4dc346cac8" providerId="LiveId" clId="{4E5A36B7-989F-465C-81B5-23DF07CF9D44}" dt="2023-09-27T08:57:00.045" v="855" actId="1076"/>
          <ac:picMkLst>
            <pc:docMk/>
            <pc:sldMk cId="3624315003" sldId="337"/>
            <ac:picMk id="12" creationId="{BA76B914-C544-524C-EB98-0AD518A6C7F0}"/>
          </ac:picMkLst>
        </pc:picChg>
      </pc:sldChg>
      <pc:sldChg chg="addSp delSp modSp new mod modAnim">
        <pc:chgData name="Yi Zhang" userId="d03fca4dc346cac8" providerId="LiveId" clId="{4E5A36B7-989F-465C-81B5-23DF07CF9D44}" dt="2023-09-27T09:20:49.750" v="1366" actId="20577"/>
        <pc:sldMkLst>
          <pc:docMk/>
          <pc:sldMk cId="964354158" sldId="338"/>
        </pc:sldMkLst>
        <pc:spChg chg="mod">
          <ac:chgData name="Yi Zhang" userId="d03fca4dc346cac8" providerId="LiveId" clId="{4E5A36B7-989F-465C-81B5-23DF07CF9D44}" dt="2023-09-27T08:41:50.877" v="662" actId="20577"/>
          <ac:spMkLst>
            <pc:docMk/>
            <pc:sldMk cId="964354158" sldId="338"/>
            <ac:spMk id="3" creationId="{640BDD03-3C0F-23E8-0BEE-68EB0B0099DB}"/>
          </ac:spMkLst>
        </pc:spChg>
        <pc:spChg chg="del">
          <ac:chgData name="Yi Zhang" userId="d03fca4dc346cac8" providerId="LiveId" clId="{4E5A36B7-989F-465C-81B5-23DF07CF9D44}" dt="2023-09-27T08:41:48.993" v="658" actId="478"/>
          <ac:spMkLst>
            <pc:docMk/>
            <pc:sldMk cId="964354158" sldId="338"/>
            <ac:spMk id="4" creationId="{0A6C09BF-CBCE-E72B-2ADF-C76421FD44D6}"/>
          </ac:spMkLst>
        </pc:spChg>
        <pc:spChg chg="del">
          <ac:chgData name="Yi Zhang" userId="d03fca4dc346cac8" providerId="LiveId" clId="{4E5A36B7-989F-465C-81B5-23DF07CF9D44}" dt="2023-09-27T08:41:48.077" v="657" actId="478"/>
          <ac:spMkLst>
            <pc:docMk/>
            <pc:sldMk cId="964354158" sldId="338"/>
            <ac:spMk id="5" creationId="{FEAABCAB-E2EA-D563-E88B-3080E75D3EF7}"/>
          </ac:spMkLst>
        </pc:spChg>
        <pc:spChg chg="add mod">
          <ac:chgData name="Yi Zhang" userId="d03fca4dc346cac8" providerId="LiveId" clId="{4E5A36B7-989F-465C-81B5-23DF07CF9D44}" dt="2023-09-27T09:19:49.432" v="1336" actId="20577"/>
          <ac:spMkLst>
            <pc:docMk/>
            <pc:sldMk cId="964354158" sldId="338"/>
            <ac:spMk id="6" creationId="{8B3BCED4-7BC1-FA95-9CB2-8F397A27020D}"/>
          </ac:spMkLst>
        </pc:spChg>
        <pc:spChg chg="add mod">
          <ac:chgData name="Yi Zhang" userId="d03fca4dc346cac8" providerId="LiveId" clId="{4E5A36B7-989F-465C-81B5-23DF07CF9D44}" dt="2023-09-27T09:20:49.750" v="1366" actId="20577"/>
          <ac:spMkLst>
            <pc:docMk/>
            <pc:sldMk cId="964354158" sldId="338"/>
            <ac:spMk id="9" creationId="{CF6883A9-32BB-5384-53B1-2CD1DD293B08}"/>
          </ac:spMkLst>
        </pc:spChg>
        <pc:picChg chg="add mod">
          <ac:chgData name="Yi Zhang" userId="d03fca4dc346cac8" providerId="LiveId" clId="{4E5A36B7-989F-465C-81B5-23DF07CF9D44}" dt="2023-09-27T08:57:41.448" v="857" actId="1076"/>
          <ac:picMkLst>
            <pc:docMk/>
            <pc:sldMk cId="964354158" sldId="338"/>
            <ac:picMk id="8" creationId="{A6420FB4-C3EB-5061-A01E-09CBB19F6321}"/>
          </ac:picMkLst>
        </pc:picChg>
      </pc:sldChg>
      <pc:sldChg chg="addSp delSp modSp new mod modAnim">
        <pc:chgData name="Yi Zhang" userId="d03fca4dc346cac8" providerId="LiveId" clId="{4E5A36B7-989F-465C-81B5-23DF07CF9D44}" dt="2023-09-27T09:20:59.483" v="1368" actId="114"/>
        <pc:sldMkLst>
          <pc:docMk/>
          <pc:sldMk cId="1078839825" sldId="339"/>
        </pc:sldMkLst>
        <pc:spChg chg="mod">
          <ac:chgData name="Yi Zhang" userId="d03fca4dc346cac8" providerId="LiveId" clId="{4E5A36B7-989F-465C-81B5-23DF07CF9D44}" dt="2023-09-27T08:42:31.079" v="675" actId="20577"/>
          <ac:spMkLst>
            <pc:docMk/>
            <pc:sldMk cId="1078839825" sldId="339"/>
            <ac:spMk id="3" creationId="{70E87068-476C-E0C0-7515-E73081F76AFF}"/>
          </ac:spMkLst>
        </pc:spChg>
        <pc:spChg chg="del">
          <ac:chgData name="Yi Zhang" userId="d03fca4dc346cac8" providerId="LiveId" clId="{4E5A36B7-989F-465C-81B5-23DF07CF9D44}" dt="2023-09-27T08:42:33.099" v="676" actId="478"/>
          <ac:spMkLst>
            <pc:docMk/>
            <pc:sldMk cId="1078839825" sldId="339"/>
            <ac:spMk id="4" creationId="{149503A8-2CF2-2746-F6EB-0E031D4143C2}"/>
          </ac:spMkLst>
        </pc:spChg>
        <pc:spChg chg="del">
          <ac:chgData name="Yi Zhang" userId="d03fca4dc346cac8" providerId="LiveId" clId="{4E5A36B7-989F-465C-81B5-23DF07CF9D44}" dt="2023-09-27T08:42:34.615" v="677" actId="478"/>
          <ac:spMkLst>
            <pc:docMk/>
            <pc:sldMk cId="1078839825" sldId="339"/>
            <ac:spMk id="5" creationId="{1159D0A7-2688-74DB-7217-8925EE426FE0}"/>
          </ac:spMkLst>
        </pc:spChg>
        <pc:spChg chg="add mod">
          <ac:chgData name="Yi Zhang" userId="d03fca4dc346cac8" providerId="LiveId" clId="{4E5A36B7-989F-465C-81B5-23DF07CF9D44}" dt="2023-09-27T08:58:50.819" v="916" actId="14100"/>
          <ac:spMkLst>
            <pc:docMk/>
            <pc:sldMk cId="1078839825" sldId="339"/>
            <ac:spMk id="6" creationId="{79A4D629-D0B7-E047-5E9B-12BDAAFA542E}"/>
          </ac:spMkLst>
        </pc:spChg>
        <pc:spChg chg="add mod">
          <ac:chgData name="Yi Zhang" userId="d03fca4dc346cac8" providerId="LiveId" clId="{4E5A36B7-989F-465C-81B5-23DF07CF9D44}" dt="2023-09-27T09:20:59.483" v="1368" actId="114"/>
          <ac:spMkLst>
            <pc:docMk/>
            <pc:sldMk cId="1078839825" sldId="339"/>
            <ac:spMk id="9" creationId="{255D14B2-EABE-08BD-FE39-8EE67FFCFD22}"/>
          </ac:spMkLst>
        </pc:spChg>
        <pc:picChg chg="add mod">
          <ac:chgData name="Yi Zhang" userId="d03fca4dc346cac8" providerId="LiveId" clId="{4E5A36B7-989F-465C-81B5-23DF07CF9D44}" dt="2023-09-27T08:58:57.336" v="918" actId="14100"/>
          <ac:picMkLst>
            <pc:docMk/>
            <pc:sldMk cId="1078839825" sldId="339"/>
            <ac:picMk id="8" creationId="{4BC00A5B-0D01-FD6E-122C-0590BB0E877D}"/>
          </ac:picMkLst>
        </pc:picChg>
      </pc:sldChg>
      <pc:sldChg chg="addSp delSp modSp new mod modAnim">
        <pc:chgData name="Yi Zhang" userId="d03fca4dc346cac8" providerId="LiveId" clId="{4E5A36B7-989F-465C-81B5-23DF07CF9D44}" dt="2023-09-27T09:08:00.438" v="1164"/>
        <pc:sldMkLst>
          <pc:docMk/>
          <pc:sldMk cId="1498192663" sldId="340"/>
        </pc:sldMkLst>
        <pc:spChg chg="mod">
          <ac:chgData name="Yi Zhang" userId="d03fca4dc346cac8" providerId="LiveId" clId="{4E5A36B7-989F-465C-81B5-23DF07CF9D44}" dt="2023-09-27T08:44:18.862" v="691" actId="20577"/>
          <ac:spMkLst>
            <pc:docMk/>
            <pc:sldMk cId="1498192663" sldId="340"/>
            <ac:spMk id="3" creationId="{05F0C11F-DB61-F9A0-35E4-AC82B6F25D8E}"/>
          </ac:spMkLst>
        </pc:spChg>
        <pc:spChg chg="del">
          <ac:chgData name="Yi Zhang" userId="d03fca4dc346cac8" providerId="LiveId" clId="{4E5A36B7-989F-465C-81B5-23DF07CF9D44}" dt="2023-09-27T08:44:20.818" v="692" actId="478"/>
          <ac:spMkLst>
            <pc:docMk/>
            <pc:sldMk cId="1498192663" sldId="340"/>
            <ac:spMk id="4" creationId="{51A550C6-2D6A-CB9B-2019-49E9260A0669}"/>
          </ac:spMkLst>
        </pc:spChg>
        <pc:spChg chg="del">
          <ac:chgData name="Yi Zhang" userId="d03fca4dc346cac8" providerId="LiveId" clId="{4E5A36B7-989F-465C-81B5-23DF07CF9D44}" dt="2023-09-27T08:44:21.670" v="693" actId="478"/>
          <ac:spMkLst>
            <pc:docMk/>
            <pc:sldMk cId="1498192663" sldId="340"/>
            <ac:spMk id="5" creationId="{D104F65A-429A-D44D-5B51-4FE96440934F}"/>
          </ac:spMkLst>
        </pc:spChg>
        <pc:spChg chg="add mod">
          <ac:chgData name="Yi Zhang" userId="d03fca4dc346cac8" providerId="LiveId" clId="{4E5A36B7-989F-465C-81B5-23DF07CF9D44}" dt="2023-09-27T08:59:15.087" v="919" actId="1076"/>
          <ac:spMkLst>
            <pc:docMk/>
            <pc:sldMk cId="1498192663" sldId="340"/>
            <ac:spMk id="6" creationId="{270C3DA5-11CB-053C-B771-3279E27B7B72}"/>
          </ac:spMkLst>
        </pc:spChg>
        <pc:spChg chg="add mod">
          <ac:chgData name="Yi Zhang" userId="d03fca4dc346cac8" providerId="LiveId" clId="{4E5A36B7-989F-465C-81B5-23DF07CF9D44}" dt="2023-09-27T08:59:20.329" v="920" actId="1076"/>
          <ac:spMkLst>
            <pc:docMk/>
            <pc:sldMk cId="1498192663" sldId="340"/>
            <ac:spMk id="7" creationId="{590AB39C-F980-82DD-9D27-F8B092CB0FB7}"/>
          </ac:spMkLst>
        </pc:spChg>
        <pc:spChg chg="add mod">
          <ac:chgData name="Yi Zhang" userId="d03fca4dc346cac8" providerId="LiveId" clId="{4E5A36B7-989F-465C-81B5-23DF07CF9D44}" dt="2023-09-27T08:59:23.021" v="921" actId="1076"/>
          <ac:spMkLst>
            <pc:docMk/>
            <pc:sldMk cId="1498192663" sldId="340"/>
            <ac:spMk id="8" creationId="{36711793-29D7-15B8-2456-0461B5150D0C}"/>
          </ac:spMkLst>
        </pc:spChg>
        <pc:picChg chg="add mod">
          <ac:chgData name="Yi Zhang" userId="d03fca4dc346cac8" providerId="LiveId" clId="{4E5A36B7-989F-465C-81B5-23DF07CF9D44}" dt="2023-09-27T08:47:52.968" v="742" actId="14100"/>
          <ac:picMkLst>
            <pc:docMk/>
            <pc:sldMk cId="1498192663" sldId="340"/>
            <ac:picMk id="10" creationId="{8A5925C2-FBA5-7BBF-E626-3906D8EFE42F}"/>
          </ac:picMkLst>
        </pc:picChg>
      </pc:sldChg>
      <pc:sldChg chg="addSp delSp modSp new mod modAnim">
        <pc:chgData name="Yi Zhang" userId="d03fca4dc346cac8" providerId="LiveId" clId="{4E5A36B7-989F-465C-81B5-23DF07CF9D44}" dt="2023-09-27T09:20:23.527" v="1340" actId="207"/>
        <pc:sldMkLst>
          <pc:docMk/>
          <pc:sldMk cId="2184413368" sldId="341"/>
        </pc:sldMkLst>
        <pc:spChg chg="mod">
          <ac:chgData name="Yi Zhang" userId="d03fca4dc346cac8" providerId="LiveId" clId="{4E5A36B7-989F-465C-81B5-23DF07CF9D44}" dt="2023-09-27T08:48:24.909" v="747" actId="20577"/>
          <ac:spMkLst>
            <pc:docMk/>
            <pc:sldMk cId="2184413368" sldId="341"/>
            <ac:spMk id="3" creationId="{80EEEDE2-A824-4BDE-DD02-2C604AA37C19}"/>
          </ac:spMkLst>
        </pc:spChg>
        <pc:spChg chg="del">
          <ac:chgData name="Yi Zhang" userId="d03fca4dc346cac8" providerId="LiveId" clId="{4E5A36B7-989F-465C-81B5-23DF07CF9D44}" dt="2023-09-27T08:48:27.646" v="748" actId="478"/>
          <ac:spMkLst>
            <pc:docMk/>
            <pc:sldMk cId="2184413368" sldId="341"/>
            <ac:spMk id="4" creationId="{BCD4F806-5782-0A10-67C6-B2616CEA38DB}"/>
          </ac:spMkLst>
        </pc:spChg>
        <pc:spChg chg="del">
          <ac:chgData name="Yi Zhang" userId="d03fca4dc346cac8" providerId="LiveId" clId="{4E5A36B7-989F-465C-81B5-23DF07CF9D44}" dt="2023-09-27T08:48:29.168" v="749" actId="478"/>
          <ac:spMkLst>
            <pc:docMk/>
            <pc:sldMk cId="2184413368" sldId="341"/>
            <ac:spMk id="5" creationId="{DC6E34EA-30A3-EB13-0E30-77885983A523}"/>
          </ac:spMkLst>
        </pc:spChg>
        <pc:spChg chg="add mod">
          <ac:chgData name="Yi Zhang" userId="d03fca4dc346cac8" providerId="LiveId" clId="{4E5A36B7-989F-465C-81B5-23DF07CF9D44}" dt="2023-09-27T09:06:00.837" v="1150" actId="1076"/>
          <ac:spMkLst>
            <pc:docMk/>
            <pc:sldMk cId="2184413368" sldId="341"/>
            <ac:spMk id="6" creationId="{617485E0-7317-2347-D75D-A4DAA42D7D4A}"/>
          </ac:spMkLst>
        </pc:spChg>
        <pc:spChg chg="add mod">
          <ac:chgData name="Yi Zhang" userId="d03fca4dc346cac8" providerId="LiveId" clId="{4E5A36B7-989F-465C-81B5-23DF07CF9D44}" dt="2023-09-27T09:20:23.527" v="1340" actId="207"/>
          <ac:spMkLst>
            <pc:docMk/>
            <pc:sldMk cId="2184413368" sldId="341"/>
            <ac:spMk id="9" creationId="{29336DA0-E11B-8391-2341-6F4B43B2F7FC}"/>
          </ac:spMkLst>
        </pc:spChg>
        <pc:spChg chg="add del mod">
          <ac:chgData name="Yi Zhang" userId="d03fca4dc346cac8" providerId="LiveId" clId="{4E5A36B7-989F-465C-81B5-23DF07CF9D44}" dt="2023-09-27T09:05:37.588" v="1139"/>
          <ac:spMkLst>
            <pc:docMk/>
            <pc:sldMk cId="2184413368" sldId="341"/>
            <ac:spMk id="10" creationId="{A7F4E8F4-1E6E-C48A-6BFD-E13E92A018F8}"/>
          </ac:spMkLst>
        </pc:spChg>
        <pc:spChg chg="add mod">
          <ac:chgData name="Yi Zhang" userId="d03fca4dc346cac8" providerId="LiveId" clId="{4E5A36B7-989F-465C-81B5-23DF07CF9D44}" dt="2023-09-27T09:06:00.837" v="1150" actId="1076"/>
          <ac:spMkLst>
            <pc:docMk/>
            <pc:sldMk cId="2184413368" sldId="341"/>
            <ac:spMk id="11" creationId="{437E8256-F977-20D3-ED5C-2F0C37BF4D9E}"/>
          </ac:spMkLst>
        </pc:spChg>
        <pc:picChg chg="add mod">
          <ac:chgData name="Yi Zhang" userId="d03fca4dc346cac8" providerId="LiveId" clId="{4E5A36B7-989F-465C-81B5-23DF07CF9D44}" dt="2023-09-27T09:05:53.340" v="1149" actId="1076"/>
          <ac:picMkLst>
            <pc:docMk/>
            <pc:sldMk cId="2184413368" sldId="341"/>
            <ac:picMk id="8" creationId="{87E2399B-026D-7293-193C-ECDB947CABF5}"/>
          </ac:picMkLst>
        </pc:picChg>
      </pc:sldChg>
      <pc:sldChg chg="addSp delSp modSp new mod modAnim">
        <pc:chgData name="Yi Zhang" userId="d03fca4dc346cac8" providerId="LiveId" clId="{4E5A36B7-989F-465C-81B5-23DF07CF9D44}" dt="2023-09-27T09:21:05.338" v="1370" actId="207"/>
        <pc:sldMkLst>
          <pc:docMk/>
          <pc:sldMk cId="3361510289" sldId="342"/>
        </pc:sldMkLst>
        <pc:spChg chg="mod">
          <ac:chgData name="Yi Zhang" userId="d03fca4dc346cac8" providerId="LiveId" clId="{4E5A36B7-989F-465C-81B5-23DF07CF9D44}" dt="2023-09-27T09:00:53.561" v="1000" actId="20577"/>
          <ac:spMkLst>
            <pc:docMk/>
            <pc:sldMk cId="3361510289" sldId="342"/>
            <ac:spMk id="3" creationId="{16754CA4-07F7-03D8-770B-DAFF1B97286B}"/>
          </ac:spMkLst>
        </pc:spChg>
        <pc:spChg chg="del">
          <ac:chgData name="Yi Zhang" userId="d03fca4dc346cac8" providerId="LiveId" clId="{4E5A36B7-989F-465C-81B5-23DF07CF9D44}" dt="2023-09-27T08:49:42.448" v="761" actId="478"/>
          <ac:spMkLst>
            <pc:docMk/>
            <pc:sldMk cId="3361510289" sldId="342"/>
            <ac:spMk id="4" creationId="{045DE725-17F5-E5AE-E9F0-31CA35127B0C}"/>
          </ac:spMkLst>
        </pc:spChg>
        <pc:spChg chg="del">
          <ac:chgData name="Yi Zhang" userId="d03fca4dc346cac8" providerId="LiveId" clId="{4E5A36B7-989F-465C-81B5-23DF07CF9D44}" dt="2023-09-27T08:49:43.382" v="762" actId="478"/>
          <ac:spMkLst>
            <pc:docMk/>
            <pc:sldMk cId="3361510289" sldId="342"/>
            <ac:spMk id="5" creationId="{D73D04B5-68C2-F466-9AC9-3608DFC2400E}"/>
          </ac:spMkLst>
        </pc:spChg>
        <pc:spChg chg="add del">
          <ac:chgData name="Yi Zhang" userId="d03fca4dc346cac8" providerId="LiveId" clId="{4E5A36B7-989F-465C-81B5-23DF07CF9D44}" dt="2023-09-27T08:49:47.297" v="764"/>
          <ac:spMkLst>
            <pc:docMk/>
            <pc:sldMk cId="3361510289" sldId="342"/>
            <ac:spMk id="6" creationId="{1C758F13-2F95-D429-6C66-DA55A13C030B}"/>
          </ac:spMkLst>
        </pc:spChg>
        <pc:spChg chg="add del mod">
          <ac:chgData name="Yi Zhang" userId="d03fca4dc346cac8" providerId="LiveId" clId="{4E5A36B7-989F-465C-81B5-23DF07CF9D44}" dt="2023-09-27T08:50:39.997" v="768" actId="478"/>
          <ac:spMkLst>
            <pc:docMk/>
            <pc:sldMk cId="3361510289" sldId="342"/>
            <ac:spMk id="7" creationId="{FA973EEC-900A-562D-A9B3-23A59E0268CA}"/>
          </ac:spMkLst>
        </pc:spChg>
        <pc:spChg chg="add mod">
          <ac:chgData name="Yi Zhang" userId="d03fca4dc346cac8" providerId="LiveId" clId="{4E5A36B7-989F-465C-81B5-23DF07CF9D44}" dt="2023-09-27T09:08:20.690" v="1165" actId="1076"/>
          <ac:spMkLst>
            <pc:docMk/>
            <pc:sldMk cId="3361510289" sldId="342"/>
            <ac:spMk id="8" creationId="{881E1CCE-1977-7A64-97B4-5D302FC290E2}"/>
          </ac:spMkLst>
        </pc:spChg>
        <pc:spChg chg="add mod">
          <ac:chgData name="Yi Zhang" userId="d03fca4dc346cac8" providerId="LiveId" clId="{4E5A36B7-989F-465C-81B5-23DF07CF9D44}" dt="2023-09-27T08:51:43.176" v="781" actId="1076"/>
          <ac:spMkLst>
            <pc:docMk/>
            <pc:sldMk cId="3361510289" sldId="342"/>
            <ac:spMk id="11" creationId="{8067BA0F-7A5D-A591-A47D-402316164FA6}"/>
          </ac:spMkLst>
        </pc:spChg>
        <pc:spChg chg="add mod">
          <ac:chgData name="Yi Zhang" userId="d03fca4dc346cac8" providerId="LiveId" clId="{4E5A36B7-989F-465C-81B5-23DF07CF9D44}" dt="2023-09-27T09:21:05.338" v="1370" actId="207"/>
          <ac:spMkLst>
            <pc:docMk/>
            <pc:sldMk cId="3361510289" sldId="342"/>
            <ac:spMk id="14" creationId="{90E58EC0-B741-2213-C027-A6A67DF284C9}"/>
          </ac:spMkLst>
        </pc:spChg>
        <pc:picChg chg="add mod">
          <ac:chgData name="Yi Zhang" userId="d03fca4dc346cac8" providerId="LiveId" clId="{4E5A36B7-989F-465C-81B5-23DF07CF9D44}" dt="2023-09-27T08:51:02.333" v="777" actId="1076"/>
          <ac:picMkLst>
            <pc:docMk/>
            <pc:sldMk cId="3361510289" sldId="342"/>
            <ac:picMk id="10" creationId="{FC66D8EC-9E20-3081-CA61-D4CAE3E4F837}"/>
          </ac:picMkLst>
        </pc:picChg>
        <pc:picChg chg="add mod">
          <ac:chgData name="Yi Zhang" userId="d03fca4dc346cac8" providerId="LiveId" clId="{4E5A36B7-989F-465C-81B5-23DF07CF9D44}" dt="2023-09-27T09:08:40.980" v="1170" actId="1076"/>
          <ac:picMkLst>
            <pc:docMk/>
            <pc:sldMk cId="3361510289" sldId="342"/>
            <ac:picMk id="13" creationId="{8F7F00FA-33C8-015E-DFF6-03A5E17938FE}"/>
          </ac:picMkLst>
        </pc:picChg>
      </pc:sldChg>
      <pc:sldChg chg="addSp delSp modSp new mod delAnim modAnim">
        <pc:chgData name="Yi Zhang" userId="d03fca4dc346cac8" providerId="LiveId" clId="{4E5A36B7-989F-465C-81B5-23DF07CF9D44}" dt="2023-09-27T10:52:25.069" v="1505"/>
        <pc:sldMkLst>
          <pc:docMk/>
          <pc:sldMk cId="1122118726" sldId="343"/>
        </pc:sldMkLst>
        <pc:spChg chg="mod">
          <ac:chgData name="Yi Zhang" userId="d03fca4dc346cac8" providerId="LiveId" clId="{4E5A36B7-989F-465C-81B5-23DF07CF9D44}" dt="2023-09-27T08:53:26.750" v="792" actId="20577"/>
          <ac:spMkLst>
            <pc:docMk/>
            <pc:sldMk cId="1122118726" sldId="343"/>
            <ac:spMk id="3" creationId="{9D1A8C2F-36BA-1B3A-B581-0218B44C5485}"/>
          </ac:spMkLst>
        </pc:spChg>
        <pc:spChg chg="del">
          <ac:chgData name="Yi Zhang" userId="d03fca4dc346cac8" providerId="LiveId" clId="{4E5A36B7-989F-465C-81B5-23DF07CF9D44}" dt="2023-09-27T08:53:28.282" v="793" actId="478"/>
          <ac:spMkLst>
            <pc:docMk/>
            <pc:sldMk cId="1122118726" sldId="343"/>
            <ac:spMk id="4" creationId="{C1608B11-B73F-1027-F32A-E3266571E94C}"/>
          </ac:spMkLst>
        </pc:spChg>
        <pc:spChg chg="del">
          <ac:chgData name="Yi Zhang" userId="d03fca4dc346cac8" providerId="LiveId" clId="{4E5A36B7-989F-465C-81B5-23DF07CF9D44}" dt="2023-09-27T08:53:29.763" v="794" actId="478"/>
          <ac:spMkLst>
            <pc:docMk/>
            <pc:sldMk cId="1122118726" sldId="343"/>
            <ac:spMk id="5" creationId="{98F4DD40-FDFC-8236-5367-BD6A7DD1741A}"/>
          </ac:spMkLst>
        </pc:spChg>
        <pc:spChg chg="add del mod">
          <ac:chgData name="Yi Zhang" userId="d03fca4dc346cac8" providerId="LiveId" clId="{4E5A36B7-989F-465C-81B5-23DF07CF9D44}" dt="2023-09-27T08:53:54.366" v="798"/>
          <ac:spMkLst>
            <pc:docMk/>
            <pc:sldMk cId="1122118726" sldId="343"/>
            <ac:spMk id="6" creationId="{10E3DDB0-74FC-A8F6-5F63-B81533F1829B}"/>
          </ac:spMkLst>
        </pc:spChg>
        <pc:spChg chg="add mod">
          <ac:chgData name="Yi Zhang" userId="d03fca4dc346cac8" providerId="LiveId" clId="{4E5A36B7-989F-465C-81B5-23DF07CF9D44}" dt="2023-09-27T09:02:46.757" v="1088" actId="20577"/>
          <ac:spMkLst>
            <pc:docMk/>
            <pc:sldMk cId="1122118726" sldId="343"/>
            <ac:spMk id="7" creationId="{042F043E-5F3C-7B97-5019-A0C324DE18B6}"/>
          </ac:spMkLst>
        </pc:spChg>
        <pc:spChg chg="add del mod">
          <ac:chgData name="Yi Zhang" userId="d03fca4dc346cac8" providerId="LiveId" clId="{4E5A36B7-989F-465C-81B5-23DF07CF9D44}" dt="2023-09-27T09:01:21.587" v="1005"/>
          <ac:spMkLst>
            <pc:docMk/>
            <pc:sldMk cId="1122118726" sldId="343"/>
            <ac:spMk id="8" creationId="{736EF699-5601-72C6-4968-420C1A07CAF9}"/>
          </ac:spMkLst>
        </pc:spChg>
        <pc:spChg chg="add mod">
          <ac:chgData name="Yi Zhang" userId="d03fca4dc346cac8" providerId="LiveId" clId="{4E5A36B7-989F-465C-81B5-23DF07CF9D44}" dt="2023-09-27T09:21:09.757" v="1372" actId="207"/>
          <ac:spMkLst>
            <pc:docMk/>
            <pc:sldMk cId="1122118726" sldId="343"/>
            <ac:spMk id="9" creationId="{6CAA0498-5052-AF1D-7243-0E4481E51AB8}"/>
          </ac:spMkLst>
        </pc:spChg>
        <pc:picChg chg="add del mod">
          <ac:chgData name="Yi Zhang" userId="d03fca4dc346cac8" providerId="LiveId" clId="{4E5A36B7-989F-465C-81B5-23DF07CF9D44}" dt="2023-09-27T10:51:58.342" v="1496" actId="478"/>
          <ac:picMkLst>
            <pc:docMk/>
            <pc:sldMk cId="1122118726" sldId="343"/>
            <ac:picMk id="4" creationId="{030B8349-5E29-D7CE-386D-66F47877989F}"/>
          </ac:picMkLst>
        </pc:picChg>
        <pc:picChg chg="add mod">
          <ac:chgData name="Yi Zhang" userId="d03fca4dc346cac8" providerId="LiveId" clId="{4E5A36B7-989F-465C-81B5-23DF07CF9D44}" dt="2023-09-27T10:52:05.090" v="1500" actId="14100"/>
          <ac:picMkLst>
            <pc:docMk/>
            <pc:sldMk cId="1122118726" sldId="343"/>
            <ac:picMk id="5" creationId="{0F6B9AF2-6C0F-246F-7182-2E9593A8FCFE}"/>
          </ac:picMkLst>
        </pc:picChg>
        <pc:picChg chg="add del mod">
          <ac:chgData name="Yi Zhang" userId="d03fca4dc346cac8" providerId="LiveId" clId="{4E5A36B7-989F-465C-81B5-23DF07CF9D44}" dt="2023-09-27T10:51:55.020" v="1494" actId="478"/>
          <ac:picMkLst>
            <pc:docMk/>
            <pc:sldMk cId="1122118726" sldId="343"/>
            <ac:picMk id="10" creationId="{E9BEF556-38E5-B973-3579-B88EDD28D187}"/>
          </ac:picMkLst>
        </pc:picChg>
      </pc:sldChg>
    </pc:docChg>
  </pc:docChgLst>
  <pc:docChgLst>
    <pc:chgData name="Yi Zhang" userId="d03fca4dc346cac8" providerId="LiveId" clId="{B70A919D-2232-4DEE-B2F9-2ABC0E9E80A7}"/>
    <pc:docChg chg="undo custSel addSld delSld modSld sldOrd">
      <pc:chgData name="Yi Zhang" userId="d03fca4dc346cac8" providerId="LiveId" clId="{B70A919D-2232-4DEE-B2F9-2ABC0E9E80A7}" dt="2024-01-13T09:47:53.512" v="3192" actId="1036"/>
      <pc:docMkLst>
        <pc:docMk/>
      </pc:docMkLst>
      <pc:sldChg chg="addSp delSp modSp mod">
        <pc:chgData name="Yi Zhang" userId="d03fca4dc346cac8" providerId="LiveId" clId="{B70A919D-2232-4DEE-B2F9-2ABC0E9E80A7}" dt="2024-01-13T08:13:09.755" v="2792"/>
        <pc:sldMkLst>
          <pc:docMk/>
          <pc:sldMk cId="2662654116" sldId="308"/>
        </pc:sldMkLst>
        <pc:spChg chg="add mod">
          <ac:chgData name="Yi Zhang" userId="d03fca4dc346cac8" providerId="LiveId" clId="{B70A919D-2232-4DEE-B2F9-2ABC0E9E80A7}" dt="2024-01-11T15:44:00.666" v="2145" actId="1076"/>
          <ac:spMkLst>
            <pc:docMk/>
            <pc:sldMk cId="2662654116" sldId="308"/>
            <ac:spMk id="2" creationId="{E94AF82C-C6C3-D248-5818-A43BAC2FD220}"/>
          </ac:spMkLst>
        </pc:spChg>
        <pc:spChg chg="add del">
          <ac:chgData name="Yi Zhang" userId="d03fca4dc346cac8" providerId="LiveId" clId="{B70A919D-2232-4DEE-B2F9-2ABC0E9E80A7}" dt="2024-01-11T15:42:10.803" v="2111" actId="22"/>
          <ac:spMkLst>
            <pc:docMk/>
            <pc:sldMk cId="2662654116" sldId="308"/>
            <ac:spMk id="4" creationId="{C6218AFD-CF47-108E-5EA8-0E2B4DB52A9D}"/>
          </ac:spMkLst>
        </pc:spChg>
        <pc:spChg chg="mod">
          <ac:chgData name="Yi Zhang" userId="d03fca4dc346cac8" providerId="LiveId" clId="{B70A919D-2232-4DEE-B2F9-2ABC0E9E80A7}" dt="2024-01-11T15:33:54.419" v="1942" actId="1076"/>
          <ac:spMkLst>
            <pc:docMk/>
            <pc:sldMk cId="2662654116" sldId="308"/>
            <ac:spMk id="5" creationId="{BD8500E4-A1E6-434E-B2F0-C68F00678FDD}"/>
          </ac:spMkLst>
        </pc:spChg>
        <pc:spChg chg="add mod">
          <ac:chgData name="Yi Zhang" userId="d03fca4dc346cac8" providerId="LiveId" clId="{B70A919D-2232-4DEE-B2F9-2ABC0E9E80A7}" dt="2024-01-11T15:43:56.662" v="2144" actId="20577"/>
          <ac:spMkLst>
            <pc:docMk/>
            <pc:sldMk cId="2662654116" sldId="308"/>
            <ac:spMk id="8" creationId="{287CC45E-D2AD-C304-9DD5-317F7D96F2F9}"/>
          </ac:spMkLst>
        </pc:spChg>
        <pc:picChg chg="add mod">
          <ac:chgData name="Yi Zhang" userId="d03fca4dc346cac8" providerId="LiveId" clId="{B70A919D-2232-4DEE-B2F9-2ABC0E9E80A7}" dt="2024-01-13T08:13:09.755" v="2792"/>
          <ac:picMkLst>
            <pc:docMk/>
            <pc:sldMk cId="2662654116" sldId="308"/>
            <ac:picMk id="3" creationId="{1213205F-E778-2DB3-D859-880EDF514A49}"/>
          </ac:picMkLst>
        </pc:picChg>
      </pc:sldChg>
      <pc:sldChg chg="addSp delSp modSp add mod delAnim">
        <pc:chgData name="Yi Zhang" userId="d03fca4dc346cac8" providerId="LiveId" clId="{B70A919D-2232-4DEE-B2F9-2ABC0E9E80A7}" dt="2024-01-13T08:12:59.058" v="2789"/>
        <pc:sldMkLst>
          <pc:docMk/>
          <pc:sldMk cId="1114238458" sldId="329"/>
        </pc:sldMkLst>
        <pc:spChg chg="del">
          <ac:chgData name="Yi Zhang" userId="d03fca4dc346cac8" providerId="LiveId" clId="{B70A919D-2232-4DEE-B2F9-2ABC0E9E80A7}" dt="2024-01-11T15:28:35.641" v="1917" actId="478"/>
          <ac:spMkLst>
            <pc:docMk/>
            <pc:sldMk cId="1114238458" sldId="329"/>
            <ac:spMk id="4" creationId="{8BA7DD82-E82D-52A1-0B9C-D27A6BDC3B84}"/>
          </ac:spMkLst>
        </pc:spChg>
        <pc:spChg chg="del">
          <ac:chgData name="Yi Zhang" userId="d03fca4dc346cac8" providerId="LiveId" clId="{B70A919D-2232-4DEE-B2F9-2ABC0E9E80A7}" dt="2024-01-11T15:28:39.616" v="1919" actId="478"/>
          <ac:spMkLst>
            <pc:docMk/>
            <pc:sldMk cId="1114238458" sldId="329"/>
            <ac:spMk id="5" creationId="{340AD16E-2B12-C5BB-E9F0-97BAD15D134C}"/>
          </ac:spMkLst>
        </pc:spChg>
        <pc:spChg chg="add del mod">
          <ac:chgData name="Yi Zhang" userId="d03fca4dc346cac8" providerId="LiveId" clId="{B70A919D-2232-4DEE-B2F9-2ABC0E9E80A7}" dt="2024-01-11T15:28:37.218" v="1918" actId="478"/>
          <ac:spMkLst>
            <pc:docMk/>
            <pc:sldMk cId="1114238458" sldId="329"/>
            <ac:spMk id="10" creationId="{2FF00AF6-5A14-F0CE-445A-1A21A2E82692}"/>
          </ac:spMkLst>
        </pc:spChg>
        <pc:spChg chg="add mod">
          <ac:chgData name="Yi Zhang" userId="d03fca4dc346cac8" providerId="LiveId" clId="{B70A919D-2232-4DEE-B2F9-2ABC0E9E80A7}" dt="2024-01-11T15:28:49.385" v="1922" actId="14100"/>
          <ac:spMkLst>
            <pc:docMk/>
            <pc:sldMk cId="1114238458" sldId="329"/>
            <ac:spMk id="11" creationId="{8AE03C2B-6B10-0E6C-4AAF-A751E83E7BF2}"/>
          </ac:spMkLst>
        </pc:spChg>
        <pc:spChg chg="add del mod">
          <ac:chgData name="Yi Zhang" userId="d03fca4dc346cac8" providerId="LiveId" clId="{B70A919D-2232-4DEE-B2F9-2ABC0E9E80A7}" dt="2024-01-11T15:29:14.625" v="1926" actId="478"/>
          <ac:spMkLst>
            <pc:docMk/>
            <pc:sldMk cId="1114238458" sldId="329"/>
            <ac:spMk id="12" creationId="{F3D1D7FE-53C8-9281-A474-414E4C19D74D}"/>
          </ac:spMkLst>
        </pc:spChg>
        <pc:spChg chg="del">
          <ac:chgData name="Yi Zhang" userId="d03fca4dc346cac8" providerId="LiveId" clId="{B70A919D-2232-4DEE-B2F9-2ABC0E9E80A7}" dt="2024-01-11T15:28:55.944" v="1923" actId="478"/>
          <ac:spMkLst>
            <pc:docMk/>
            <pc:sldMk cId="1114238458" sldId="329"/>
            <ac:spMk id="13" creationId="{258AB019-B88D-4E9C-B1D8-6B533DFF327D}"/>
          </ac:spMkLst>
        </pc:spChg>
        <pc:picChg chg="add mod">
          <ac:chgData name="Yi Zhang" userId="d03fca4dc346cac8" providerId="LiveId" clId="{B70A919D-2232-4DEE-B2F9-2ABC0E9E80A7}" dt="2024-01-13T08:12:59.058" v="2789"/>
          <ac:picMkLst>
            <pc:docMk/>
            <pc:sldMk cId="1114238458" sldId="329"/>
            <ac:picMk id="2" creationId="{F1571D66-B9E1-AF5D-A4E3-EA7265B8DAC2}"/>
          </ac:picMkLst>
        </pc:picChg>
        <pc:picChg chg="add mod">
          <ac:chgData name="Yi Zhang" userId="d03fca4dc346cac8" providerId="LiveId" clId="{B70A919D-2232-4DEE-B2F9-2ABC0E9E80A7}" dt="2024-01-11T15:29:21.646" v="1927"/>
          <ac:picMkLst>
            <pc:docMk/>
            <pc:sldMk cId="1114238458" sldId="329"/>
            <ac:picMk id="14" creationId="{0A8DE65E-E7A4-5346-2153-28AF7B6F6B50}"/>
          </ac:picMkLst>
        </pc:picChg>
        <pc:picChg chg="add del mod">
          <ac:chgData name="Yi Zhang" userId="d03fca4dc346cac8" providerId="LiveId" clId="{B70A919D-2232-4DEE-B2F9-2ABC0E9E80A7}" dt="2024-01-13T08:12:58.679" v="2788" actId="478"/>
          <ac:picMkLst>
            <pc:docMk/>
            <pc:sldMk cId="1114238458" sldId="329"/>
            <ac:picMk id="15" creationId="{AC88DAD5-5CF7-3C8D-89FF-E45C2887FD28}"/>
          </ac:picMkLst>
        </pc:picChg>
      </pc:sldChg>
      <pc:sldChg chg="addSp delSp modSp add mod">
        <pc:chgData name="Yi Zhang" userId="d03fca4dc346cac8" providerId="LiveId" clId="{B70A919D-2232-4DEE-B2F9-2ABC0E9E80A7}" dt="2024-01-13T08:13:03.267" v="2791"/>
        <pc:sldMkLst>
          <pc:docMk/>
          <pc:sldMk cId="2656181303" sldId="330"/>
        </pc:sldMkLst>
        <pc:spChg chg="del">
          <ac:chgData name="Yi Zhang" userId="d03fca4dc346cac8" providerId="LiveId" clId="{B70A919D-2232-4DEE-B2F9-2ABC0E9E80A7}" dt="2024-01-11T15:30:32.872" v="1938" actId="478"/>
          <ac:spMkLst>
            <pc:docMk/>
            <pc:sldMk cId="2656181303" sldId="330"/>
            <ac:spMk id="4" creationId="{846A262C-1D4A-8632-D68D-3F301AB528F4}"/>
          </ac:spMkLst>
        </pc:spChg>
        <pc:spChg chg="del">
          <ac:chgData name="Yi Zhang" userId="d03fca4dc346cac8" providerId="LiveId" clId="{B70A919D-2232-4DEE-B2F9-2ABC0E9E80A7}" dt="2024-01-11T15:30:34.932" v="1940" actId="478"/>
          <ac:spMkLst>
            <pc:docMk/>
            <pc:sldMk cId="2656181303" sldId="330"/>
            <ac:spMk id="5" creationId="{50EABF76-E24A-B6D0-E732-0BD4C34BE550}"/>
          </ac:spMkLst>
        </pc:spChg>
        <pc:spChg chg="add del mod">
          <ac:chgData name="Yi Zhang" userId="d03fca4dc346cac8" providerId="LiveId" clId="{B70A919D-2232-4DEE-B2F9-2ABC0E9E80A7}" dt="2024-01-11T15:30:33.771" v="1939" actId="478"/>
          <ac:spMkLst>
            <pc:docMk/>
            <pc:sldMk cId="2656181303" sldId="330"/>
            <ac:spMk id="10" creationId="{A18DBA10-073E-7825-384D-7ECEADF505D1}"/>
          </ac:spMkLst>
        </pc:spChg>
        <pc:spChg chg="add mod">
          <ac:chgData name="Yi Zhang" userId="d03fca4dc346cac8" providerId="LiveId" clId="{B70A919D-2232-4DEE-B2F9-2ABC0E9E80A7}" dt="2024-01-11T15:30:37.430" v="1941"/>
          <ac:spMkLst>
            <pc:docMk/>
            <pc:sldMk cId="2656181303" sldId="330"/>
            <ac:spMk id="11" creationId="{48E87325-9EDE-A74C-E391-BF6D0B55C8CB}"/>
          </ac:spMkLst>
        </pc:spChg>
        <pc:picChg chg="add mod">
          <ac:chgData name="Yi Zhang" userId="d03fca4dc346cac8" providerId="LiveId" clId="{B70A919D-2232-4DEE-B2F9-2ABC0E9E80A7}" dt="2024-01-13T08:13:03.267" v="2791"/>
          <ac:picMkLst>
            <pc:docMk/>
            <pc:sldMk cId="2656181303" sldId="330"/>
            <ac:picMk id="2" creationId="{6BE85F1E-A3E0-B0B6-3F13-46BCBE6C23E1}"/>
          </ac:picMkLst>
        </pc:picChg>
        <pc:picChg chg="add del mod">
          <ac:chgData name="Yi Zhang" userId="d03fca4dc346cac8" providerId="LiveId" clId="{B70A919D-2232-4DEE-B2F9-2ABC0E9E80A7}" dt="2024-01-13T08:13:02.781" v="2790" actId="478"/>
          <ac:picMkLst>
            <pc:docMk/>
            <pc:sldMk cId="2656181303" sldId="330"/>
            <ac:picMk id="12" creationId="{7A923A1D-4BAF-A48B-3540-BD4C306B2AAD}"/>
          </ac:picMkLst>
        </pc:picChg>
      </pc:sldChg>
      <pc:sldChg chg="addSp delSp modSp del mod modAnim">
        <pc:chgData name="Yi Zhang" userId="d03fca4dc346cac8" providerId="LiveId" clId="{B70A919D-2232-4DEE-B2F9-2ABC0E9E80A7}" dt="2024-01-11T13:12:09.796" v="517" actId="47"/>
        <pc:sldMkLst>
          <pc:docMk/>
          <pc:sldMk cId="2198556805" sldId="332"/>
        </pc:sldMkLst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2" creationId="{62069F3E-1D94-1CF3-F967-9DEFB38F4A61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3" creationId="{B8566EDA-3F11-43C7-A079-E867EA31B4DF}"/>
          </ac:spMkLst>
        </pc:spChg>
        <pc:spChg chg="add del mod">
          <ac:chgData name="Yi Zhang" userId="d03fca4dc346cac8" providerId="LiveId" clId="{B70A919D-2232-4DEE-B2F9-2ABC0E9E80A7}" dt="2024-01-11T13:12:03.924" v="516" actId="478"/>
          <ac:spMkLst>
            <pc:docMk/>
            <pc:sldMk cId="2198556805" sldId="332"/>
            <ac:spMk id="4" creationId="{856E52E0-B68A-97A8-38F2-39931768E117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6" creationId="{7BEBEA52-6633-43D7-8780-89104C4A5955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7" creationId="{7A67CB66-3C88-41F8-A8D2-6D381E72619F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10" creationId="{33ACE2A3-9DAD-7281-AA9A-C1E3C832E39A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12" creationId="{8D4F871D-EAC0-F950-8388-BA2554C15DD1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13" creationId="{FA751E08-F2ED-629C-F0EB-4B0D26B06D94}"/>
          </ac:spMkLst>
        </pc:spChg>
        <pc:spChg chg="del">
          <ac:chgData name="Yi Zhang" userId="d03fca4dc346cac8" providerId="LiveId" clId="{B70A919D-2232-4DEE-B2F9-2ABC0E9E80A7}" dt="2024-01-11T13:12:01.032" v="515" actId="478"/>
          <ac:spMkLst>
            <pc:docMk/>
            <pc:sldMk cId="2198556805" sldId="332"/>
            <ac:spMk id="14" creationId="{351B8084-A4F6-86FB-0C8F-070BD4191415}"/>
          </ac:spMkLst>
        </pc:spChg>
        <pc:picChg chg="del">
          <ac:chgData name="Yi Zhang" userId="d03fca4dc346cac8" providerId="LiveId" clId="{B70A919D-2232-4DEE-B2F9-2ABC0E9E80A7}" dt="2024-01-11T13:12:01.032" v="515" actId="478"/>
          <ac:picMkLst>
            <pc:docMk/>
            <pc:sldMk cId="2198556805" sldId="332"/>
            <ac:picMk id="8" creationId="{EE41332C-C56A-EFE8-52C1-C03166546B96}"/>
          </ac:picMkLst>
        </pc:picChg>
        <pc:picChg chg="del">
          <ac:chgData name="Yi Zhang" userId="d03fca4dc346cac8" providerId="LiveId" clId="{B70A919D-2232-4DEE-B2F9-2ABC0E9E80A7}" dt="2024-01-11T13:12:01.032" v="515" actId="478"/>
          <ac:picMkLst>
            <pc:docMk/>
            <pc:sldMk cId="2198556805" sldId="332"/>
            <ac:picMk id="11" creationId="{CE30FA43-FD82-3DF7-3058-8C3F77AAAEDD}"/>
          </ac:picMkLst>
        </pc:picChg>
        <pc:picChg chg="del">
          <ac:chgData name="Yi Zhang" userId="d03fca4dc346cac8" providerId="LiveId" clId="{B70A919D-2232-4DEE-B2F9-2ABC0E9E80A7}" dt="2024-01-11T13:12:01.032" v="515" actId="478"/>
          <ac:picMkLst>
            <pc:docMk/>
            <pc:sldMk cId="2198556805" sldId="332"/>
            <ac:picMk id="16" creationId="{BCAF6577-9228-CF4D-443D-5AAA9B45922A}"/>
          </ac:picMkLst>
        </pc:picChg>
        <pc:picChg chg="del">
          <ac:chgData name="Yi Zhang" userId="d03fca4dc346cac8" providerId="LiveId" clId="{B70A919D-2232-4DEE-B2F9-2ABC0E9E80A7}" dt="2024-01-11T13:12:01.032" v="515" actId="478"/>
          <ac:picMkLst>
            <pc:docMk/>
            <pc:sldMk cId="2198556805" sldId="332"/>
            <ac:picMk id="1026" creationId="{86E03592-89CA-32AE-612D-9341A202FAAD}"/>
          </ac:picMkLst>
        </pc:picChg>
      </pc:sldChg>
      <pc:sldChg chg="delSp del mod delAnim">
        <pc:chgData name="Yi Zhang" userId="d03fca4dc346cac8" providerId="LiveId" clId="{B70A919D-2232-4DEE-B2F9-2ABC0E9E80A7}" dt="2024-01-11T12:18:08.180" v="5" actId="47"/>
        <pc:sldMkLst>
          <pc:docMk/>
          <pc:sldMk cId="2202323181" sldId="333"/>
        </pc:sldMkLst>
        <pc:spChg chg="del">
          <ac:chgData name="Yi Zhang" userId="d03fca4dc346cac8" providerId="LiveId" clId="{B70A919D-2232-4DEE-B2F9-2ABC0E9E80A7}" dt="2024-01-11T12:18:05.789" v="4" actId="478"/>
          <ac:spMkLst>
            <pc:docMk/>
            <pc:sldMk cId="2202323181" sldId="333"/>
            <ac:spMk id="9" creationId="{F60726B5-A66F-C724-257C-D0CC3A9DE9E5}"/>
          </ac:spMkLst>
        </pc:spChg>
        <pc:picChg chg="del">
          <ac:chgData name="Yi Zhang" userId="d03fca4dc346cac8" providerId="LiveId" clId="{B70A919D-2232-4DEE-B2F9-2ABC0E9E80A7}" dt="2024-01-11T12:18:01.884" v="2" actId="478"/>
          <ac:picMkLst>
            <pc:docMk/>
            <pc:sldMk cId="2202323181" sldId="333"/>
            <ac:picMk id="3" creationId="{86958344-6BD3-C899-8489-25CA971A12B4}"/>
          </ac:picMkLst>
        </pc:picChg>
        <pc:picChg chg="del">
          <ac:chgData name="Yi Zhang" userId="d03fca4dc346cac8" providerId="LiveId" clId="{B70A919D-2232-4DEE-B2F9-2ABC0E9E80A7}" dt="2024-01-11T12:18:02.506" v="3" actId="478"/>
          <ac:picMkLst>
            <pc:docMk/>
            <pc:sldMk cId="2202323181" sldId="333"/>
            <ac:picMk id="4" creationId="{8C80DC12-0528-EE51-DB41-FFE13D768A28}"/>
          </ac:picMkLst>
        </pc:picChg>
      </pc:sldChg>
      <pc:sldChg chg="addSp delSp modSp mod modTransition modAnim">
        <pc:chgData name="Yi Zhang" userId="d03fca4dc346cac8" providerId="LiveId" clId="{B70A919D-2232-4DEE-B2F9-2ABC0E9E80A7}" dt="2024-01-13T08:12:35.228" v="2778"/>
        <pc:sldMkLst>
          <pc:docMk/>
          <pc:sldMk cId="2662386739" sldId="335"/>
        </pc:sldMkLst>
        <pc:spChg chg="add mod">
          <ac:chgData name="Yi Zhang" userId="d03fca4dc346cac8" providerId="LiveId" clId="{B70A919D-2232-4DEE-B2F9-2ABC0E9E80A7}" dt="2024-01-13T01:32:52.730" v="2567"/>
          <ac:spMkLst>
            <pc:docMk/>
            <pc:sldMk cId="2662386739" sldId="335"/>
            <ac:spMk id="2" creationId="{64B5CF1D-295A-FD96-DBC1-73142987A480}"/>
          </ac:spMkLst>
        </pc:spChg>
        <pc:spChg chg="del">
          <ac:chgData name="Yi Zhang" userId="d03fca4dc346cac8" providerId="LiveId" clId="{B70A919D-2232-4DEE-B2F9-2ABC0E9E80A7}" dt="2024-01-11T13:12:21.266" v="521" actId="478"/>
          <ac:spMkLst>
            <pc:docMk/>
            <pc:sldMk cId="2662386739" sldId="335"/>
            <ac:spMk id="2" creationId="{930D40D2-F0E2-5245-F81E-AEBFEAC94122}"/>
          </ac:spMkLst>
        </pc:spChg>
        <pc:spChg chg="add mod">
          <ac:chgData name="Yi Zhang" userId="d03fca4dc346cac8" providerId="LiveId" clId="{B70A919D-2232-4DEE-B2F9-2ABC0E9E80A7}" dt="2024-01-13T08:07:33.045" v="2763" actId="1076"/>
          <ac:spMkLst>
            <pc:docMk/>
            <pc:sldMk cId="2662386739" sldId="335"/>
            <ac:spMk id="2" creationId="{A1ED2B90-AE72-82D4-6B68-F25EB5D81394}"/>
          </ac:spMkLst>
        </pc:spChg>
        <pc:spChg chg="add mod">
          <ac:chgData name="Yi Zhang" userId="d03fca4dc346cac8" providerId="LiveId" clId="{B70A919D-2232-4DEE-B2F9-2ABC0E9E80A7}" dt="2024-01-13T08:07:57.550" v="2769"/>
          <ac:spMkLst>
            <pc:docMk/>
            <pc:sldMk cId="2662386739" sldId="335"/>
            <ac:spMk id="3" creationId="{494407B3-15C6-9D15-5C5D-EC2A28B79E33}"/>
          </ac:spMkLst>
        </pc:spChg>
        <pc:spChg chg="add mod">
          <ac:chgData name="Yi Zhang" userId="d03fca4dc346cac8" providerId="LiveId" clId="{B70A919D-2232-4DEE-B2F9-2ABC0E9E80A7}" dt="2024-01-13T08:07:46.424" v="2766" actId="1076"/>
          <ac:spMkLst>
            <pc:docMk/>
            <pc:sldMk cId="2662386739" sldId="335"/>
            <ac:spMk id="4" creationId="{97377C84-5583-955B-DB7A-4B4C0BA19ED1}"/>
          </ac:spMkLst>
        </pc:spChg>
        <pc:spChg chg="add mod">
          <ac:chgData name="Yi Zhang" userId="d03fca4dc346cac8" providerId="LiveId" clId="{B70A919D-2232-4DEE-B2F9-2ABC0E9E80A7}" dt="2024-01-13T08:07:49.716" v="2767" actId="1076"/>
          <ac:spMkLst>
            <pc:docMk/>
            <pc:sldMk cId="2662386739" sldId="335"/>
            <ac:spMk id="5" creationId="{C0095FA3-7A28-A2DE-DC96-006FCB6C483F}"/>
          </ac:spMkLst>
        </pc:spChg>
        <pc:spChg chg="del">
          <ac:chgData name="Yi Zhang" userId="d03fca4dc346cac8" providerId="LiveId" clId="{B70A919D-2232-4DEE-B2F9-2ABC0E9E80A7}" dt="2024-01-11T13:12:21.266" v="521" actId="478"/>
          <ac:spMkLst>
            <pc:docMk/>
            <pc:sldMk cId="2662386739" sldId="335"/>
            <ac:spMk id="6" creationId="{3025FDEF-76F6-1B0B-E846-B3AA5B96AB5B}"/>
          </ac:spMkLst>
        </pc:spChg>
        <pc:spChg chg="del">
          <ac:chgData name="Yi Zhang" userId="d03fca4dc346cac8" providerId="LiveId" clId="{B70A919D-2232-4DEE-B2F9-2ABC0E9E80A7}" dt="2024-01-11T13:12:21.266" v="521" actId="478"/>
          <ac:spMkLst>
            <pc:docMk/>
            <pc:sldMk cId="2662386739" sldId="335"/>
            <ac:spMk id="7" creationId="{07E7B5EE-CC67-4764-A49F-390596631848}"/>
          </ac:spMkLst>
        </pc:spChg>
        <pc:spChg chg="del">
          <ac:chgData name="Yi Zhang" userId="d03fca4dc346cac8" providerId="LiveId" clId="{B70A919D-2232-4DEE-B2F9-2ABC0E9E80A7}" dt="2024-01-11T13:12:21.266" v="521" actId="478"/>
          <ac:spMkLst>
            <pc:docMk/>
            <pc:sldMk cId="2662386739" sldId="335"/>
            <ac:spMk id="8" creationId="{6726F384-9168-A70E-E675-4674C0730AEC}"/>
          </ac:spMkLst>
        </pc:spChg>
        <pc:spChg chg="del">
          <ac:chgData name="Yi Zhang" userId="d03fca4dc346cac8" providerId="LiveId" clId="{B70A919D-2232-4DEE-B2F9-2ABC0E9E80A7}" dt="2024-01-11T13:12:21.266" v="521" actId="478"/>
          <ac:spMkLst>
            <pc:docMk/>
            <pc:sldMk cId="2662386739" sldId="335"/>
            <ac:spMk id="9" creationId="{46B4C196-11B5-34F5-818F-35C3FF2439F9}"/>
          </ac:spMkLst>
        </pc:spChg>
        <pc:spChg chg="del">
          <ac:chgData name="Yi Zhang" userId="d03fca4dc346cac8" providerId="LiveId" clId="{B70A919D-2232-4DEE-B2F9-2ABC0E9E80A7}" dt="2024-01-11T13:12:16.266" v="520" actId="478"/>
          <ac:spMkLst>
            <pc:docMk/>
            <pc:sldMk cId="2662386739" sldId="335"/>
            <ac:spMk id="10" creationId="{F2D3A7DB-795A-2A11-48B2-18A94B1C44EC}"/>
          </ac:spMkLst>
        </pc:spChg>
        <pc:spChg chg="add del mod">
          <ac:chgData name="Yi Zhang" userId="d03fca4dc346cac8" providerId="LiveId" clId="{B70A919D-2232-4DEE-B2F9-2ABC0E9E80A7}" dt="2024-01-11T13:12:24.832" v="522" actId="478"/>
          <ac:spMkLst>
            <pc:docMk/>
            <pc:sldMk cId="2662386739" sldId="335"/>
            <ac:spMk id="15" creationId="{471A2155-C3FE-7E86-9193-E004AE86E469}"/>
          </ac:spMkLst>
        </pc:spChg>
        <pc:spChg chg="add del mod">
          <ac:chgData name="Yi Zhang" userId="d03fca4dc346cac8" providerId="LiveId" clId="{B70A919D-2232-4DEE-B2F9-2ABC0E9E80A7}" dt="2024-01-11T14:03:12.479" v="1445" actId="478"/>
          <ac:spMkLst>
            <pc:docMk/>
            <pc:sldMk cId="2662386739" sldId="335"/>
            <ac:spMk id="16" creationId="{DE232342-7C8B-4459-770F-AB86351B325D}"/>
          </ac:spMkLst>
        </pc:spChg>
        <pc:spChg chg="add del mod">
          <ac:chgData name="Yi Zhang" userId="d03fca4dc346cac8" providerId="LiveId" clId="{B70A919D-2232-4DEE-B2F9-2ABC0E9E80A7}" dt="2024-01-11T14:03:58.325" v="1471" actId="478"/>
          <ac:spMkLst>
            <pc:docMk/>
            <pc:sldMk cId="2662386739" sldId="335"/>
            <ac:spMk id="18" creationId="{D9D968E1-6417-97EC-0B3D-579EAA73619B}"/>
          </ac:spMkLst>
        </pc:spChg>
        <pc:spChg chg="del">
          <ac:chgData name="Yi Zhang" userId="d03fca4dc346cac8" providerId="LiveId" clId="{B70A919D-2232-4DEE-B2F9-2ABC0E9E80A7}" dt="2024-01-11T13:12:21.266" v="521" actId="478"/>
          <ac:spMkLst>
            <pc:docMk/>
            <pc:sldMk cId="2662386739" sldId="335"/>
            <ac:spMk id="19" creationId="{29EA90A1-7620-2AF5-9100-F31124F66560}"/>
          </ac:spMkLst>
        </pc:spChg>
        <pc:spChg chg="add del mod">
          <ac:chgData name="Yi Zhang" userId="d03fca4dc346cac8" providerId="LiveId" clId="{B70A919D-2232-4DEE-B2F9-2ABC0E9E80A7}" dt="2024-01-13T01:32:54.488" v="2568" actId="478"/>
          <ac:spMkLst>
            <pc:docMk/>
            <pc:sldMk cId="2662386739" sldId="335"/>
            <ac:spMk id="22" creationId="{176309FD-E413-3B28-EFD0-CBAB71465AE6}"/>
          </ac:spMkLst>
        </pc:spChg>
        <pc:spChg chg="add mod">
          <ac:chgData name="Yi Zhang" userId="d03fca4dc346cac8" providerId="LiveId" clId="{B70A919D-2232-4DEE-B2F9-2ABC0E9E80A7}" dt="2024-01-11T14:05:20.547" v="1483" actId="207"/>
          <ac:spMkLst>
            <pc:docMk/>
            <pc:sldMk cId="2662386739" sldId="335"/>
            <ac:spMk id="23" creationId="{F37C066F-CB17-2015-8FD2-D3BE00E88D3E}"/>
          </ac:spMkLst>
        </pc:spChg>
        <pc:spChg chg="add mod">
          <ac:chgData name="Yi Zhang" userId="d03fca4dc346cac8" providerId="LiveId" clId="{B70A919D-2232-4DEE-B2F9-2ABC0E9E80A7}" dt="2024-01-11T14:03:58.652" v="1472"/>
          <ac:spMkLst>
            <pc:docMk/>
            <pc:sldMk cId="2662386739" sldId="335"/>
            <ac:spMk id="24" creationId="{CFE8CF8A-ED05-F43D-A731-8EAB4EF1BC9B}"/>
          </ac:spMkLst>
        </pc:spChg>
        <pc:picChg chg="add mod">
          <ac:chgData name="Yi Zhang" userId="d03fca4dc346cac8" providerId="LiveId" clId="{B70A919D-2232-4DEE-B2F9-2ABC0E9E80A7}" dt="2024-01-13T08:12:35.228" v="2778"/>
          <ac:picMkLst>
            <pc:docMk/>
            <pc:sldMk cId="2662386739" sldId="335"/>
            <ac:picMk id="6" creationId="{0CA7343A-B6D1-52C3-7544-75ADCCF155BD}"/>
          </ac:picMkLst>
        </pc:picChg>
        <pc:picChg chg="del">
          <ac:chgData name="Yi Zhang" userId="d03fca4dc346cac8" providerId="LiveId" clId="{B70A919D-2232-4DEE-B2F9-2ABC0E9E80A7}" dt="2024-01-11T13:12:15.463" v="519" actId="478"/>
          <ac:picMkLst>
            <pc:docMk/>
            <pc:sldMk cId="2662386739" sldId="335"/>
            <ac:picMk id="17" creationId="{0D590AC9-AFEE-FD89-6F1C-E45FDD5132CE}"/>
          </ac:picMkLst>
        </pc:picChg>
        <pc:picChg chg="add del mod">
          <ac:chgData name="Yi Zhang" userId="d03fca4dc346cac8" providerId="LiveId" clId="{B70A919D-2232-4DEE-B2F9-2ABC0E9E80A7}" dt="2024-01-11T14:03:58.325" v="1471" actId="478"/>
          <ac:picMkLst>
            <pc:docMk/>
            <pc:sldMk cId="2662386739" sldId="335"/>
            <ac:picMk id="21" creationId="{C1A21FB6-CFDD-8A3F-B30A-FCBE7BFF194C}"/>
          </ac:picMkLst>
        </pc:picChg>
        <pc:picChg chg="add mod">
          <ac:chgData name="Yi Zhang" userId="d03fca4dc346cac8" providerId="LiveId" clId="{B70A919D-2232-4DEE-B2F9-2ABC0E9E80A7}" dt="2024-01-11T14:03:58.652" v="1472"/>
          <ac:picMkLst>
            <pc:docMk/>
            <pc:sldMk cId="2662386739" sldId="335"/>
            <ac:picMk id="25" creationId="{723C1F60-FE3F-A738-FA1A-DF58E7FD4602}"/>
          </ac:picMkLst>
        </pc:picChg>
        <pc:cxnChg chg="del">
          <ac:chgData name="Yi Zhang" userId="d03fca4dc346cac8" providerId="LiveId" clId="{B70A919D-2232-4DEE-B2F9-2ABC0E9E80A7}" dt="2024-01-11T13:12:21.266" v="521" actId="478"/>
          <ac:cxnSpMkLst>
            <pc:docMk/>
            <pc:sldMk cId="2662386739" sldId="335"/>
            <ac:cxnSpMk id="3" creationId="{8406FCF4-B113-0FE7-46B9-AEB26E813182}"/>
          </ac:cxnSpMkLst>
        </pc:cxnChg>
        <pc:cxnChg chg="del">
          <ac:chgData name="Yi Zhang" userId="d03fca4dc346cac8" providerId="LiveId" clId="{B70A919D-2232-4DEE-B2F9-2ABC0E9E80A7}" dt="2024-01-11T13:12:21.266" v="521" actId="478"/>
          <ac:cxnSpMkLst>
            <pc:docMk/>
            <pc:sldMk cId="2662386739" sldId="335"/>
            <ac:cxnSpMk id="4" creationId="{3A4CB096-506F-910A-0DFC-7B610EB0EFB0}"/>
          </ac:cxnSpMkLst>
        </pc:cxnChg>
        <pc:cxnChg chg="del">
          <ac:chgData name="Yi Zhang" userId="d03fca4dc346cac8" providerId="LiveId" clId="{B70A919D-2232-4DEE-B2F9-2ABC0E9E80A7}" dt="2024-01-11T13:12:21.266" v="521" actId="478"/>
          <ac:cxnSpMkLst>
            <pc:docMk/>
            <pc:sldMk cId="2662386739" sldId="335"/>
            <ac:cxnSpMk id="5" creationId="{7135D93F-2A4E-3AB0-07E8-874B9D0C0B29}"/>
          </ac:cxnSpMkLst>
        </pc:cxnChg>
        <pc:cxnChg chg="del">
          <ac:chgData name="Yi Zhang" userId="d03fca4dc346cac8" providerId="LiveId" clId="{B70A919D-2232-4DEE-B2F9-2ABC0E9E80A7}" dt="2024-01-11T13:12:21.266" v="521" actId="478"/>
          <ac:cxnSpMkLst>
            <pc:docMk/>
            <pc:sldMk cId="2662386739" sldId="335"/>
            <ac:cxnSpMk id="11" creationId="{0505F1A6-BC74-432C-70F8-5DF9B0DAABA0}"/>
          </ac:cxnSpMkLst>
        </pc:cxnChg>
        <pc:cxnChg chg="del">
          <ac:chgData name="Yi Zhang" userId="d03fca4dc346cac8" providerId="LiveId" clId="{B70A919D-2232-4DEE-B2F9-2ABC0E9E80A7}" dt="2024-01-11T13:12:21.266" v="521" actId="478"/>
          <ac:cxnSpMkLst>
            <pc:docMk/>
            <pc:sldMk cId="2662386739" sldId="335"/>
            <ac:cxnSpMk id="13" creationId="{9E9312BD-3C84-FEAE-6254-4E3DADBED9B4}"/>
          </ac:cxnSpMkLst>
        </pc:cxnChg>
        <pc:cxnChg chg="del">
          <ac:chgData name="Yi Zhang" userId="d03fca4dc346cac8" providerId="LiveId" clId="{B70A919D-2232-4DEE-B2F9-2ABC0E9E80A7}" dt="2024-01-11T13:12:21.266" v="521" actId="478"/>
          <ac:cxnSpMkLst>
            <pc:docMk/>
            <pc:sldMk cId="2662386739" sldId="335"/>
            <ac:cxnSpMk id="14" creationId="{C3FB2548-82BA-9C62-758C-ACB23E4910A7}"/>
          </ac:cxnSpMkLst>
        </pc:cxnChg>
      </pc:sldChg>
      <pc:sldChg chg="addSp delSp modSp mod modTransition delAnim modAnim">
        <pc:chgData name="Yi Zhang" userId="d03fca4dc346cac8" providerId="LiveId" clId="{B70A919D-2232-4DEE-B2F9-2ABC0E9E80A7}" dt="2024-01-13T08:12:31.191" v="2776"/>
        <pc:sldMkLst>
          <pc:docMk/>
          <pc:sldMk cId="3410885507" sldId="345"/>
        </pc:sldMkLst>
        <pc:spChg chg="add del mod">
          <ac:chgData name="Yi Zhang" userId="d03fca4dc346cac8" providerId="LiveId" clId="{B70A919D-2232-4DEE-B2F9-2ABC0E9E80A7}" dt="2024-01-11T12:34:31.743" v="284" actId="478"/>
          <ac:spMkLst>
            <pc:docMk/>
            <pc:sldMk cId="3410885507" sldId="345"/>
            <ac:spMk id="2" creationId="{26E5D97E-62C9-E90B-2BA0-B28E4BB7465A}"/>
          </ac:spMkLst>
        </pc:spChg>
        <pc:spChg chg="add mod">
          <ac:chgData name="Yi Zhang" userId="d03fca4dc346cac8" providerId="LiveId" clId="{B70A919D-2232-4DEE-B2F9-2ABC0E9E80A7}" dt="2024-01-11T12:41:54.291" v="299" actId="1076"/>
          <ac:spMkLst>
            <pc:docMk/>
            <pc:sldMk cId="3410885507" sldId="345"/>
            <ac:spMk id="3" creationId="{1DFB483C-417A-A274-B27B-BF7D1D1FB822}"/>
          </ac:spMkLst>
        </pc:spChg>
        <pc:spChg chg="add mod">
          <ac:chgData name="Yi Zhang" userId="d03fca4dc346cac8" providerId="LiveId" clId="{B70A919D-2232-4DEE-B2F9-2ABC0E9E80A7}" dt="2024-01-11T12:44:42.279" v="318" actId="1076"/>
          <ac:spMkLst>
            <pc:docMk/>
            <pc:sldMk cId="3410885507" sldId="345"/>
            <ac:spMk id="4" creationId="{2AAAC178-53B3-1A31-DC41-5C9E0110364D}"/>
          </ac:spMkLst>
        </pc:spChg>
        <pc:spChg chg="del mod">
          <ac:chgData name="Yi Zhang" userId="d03fca4dc346cac8" providerId="LiveId" clId="{B70A919D-2232-4DEE-B2F9-2ABC0E9E80A7}" dt="2024-01-11T14:02:52.693" v="1437" actId="478"/>
          <ac:spMkLst>
            <pc:docMk/>
            <pc:sldMk cId="3410885507" sldId="345"/>
            <ac:spMk id="5" creationId="{5C91977A-2560-2C20-9E81-51770729B4EE}"/>
          </ac:spMkLst>
        </pc:spChg>
        <pc:spChg chg="add del mod">
          <ac:chgData name="Yi Zhang" userId="d03fca4dc346cac8" providerId="LiveId" clId="{B70A919D-2232-4DEE-B2F9-2ABC0E9E80A7}" dt="2024-01-11T12:48:01.947" v="510" actId="478"/>
          <ac:spMkLst>
            <pc:docMk/>
            <pc:sldMk cId="3410885507" sldId="345"/>
            <ac:spMk id="7" creationId="{8CE1A536-AE4F-1152-D305-FC9727527A4D}"/>
          </ac:spMkLst>
        </pc:spChg>
        <pc:spChg chg="add mod">
          <ac:chgData name="Yi Zhang" userId="d03fca4dc346cac8" providerId="LiveId" clId="{B70A919D-2232-4DEE-B2F9-2ABC0E9E80A7}" dt="2024-01-11T12:48:02.352" v="511"/>
          <ac:spMkLst>
            <pc:docMk/>
            <pc:sldMk cId="3410885507" sldId="345"/>
            <ac:spMk id="8" creationId="{7B3D6C61-2E4D-F407-1C8C-1C61FCAD48CC}"/>
          </ac:spMkLst>
        </pc:spChg>
        <pc:spChg chg="add mod">
          <ac:chgData name="Yi Zhang" userId="d03fca4dc346cac8" providerId="LiveId" clId="{B70A919D-2232-4DEE-B2F9-2ABC0E9E80A7}" dt="2024-01-11T12:48:02.352" v="511"/>
          <ac:spMkLst>
            <pc:docMk/>
            <pc:sldMk cId="3410885507" sldId="345"/>
            <ac:spMk id="9" creationId="{0C065227-1E7E-BDDA-EAB9-33F7738C46E8}"/>
          </ac:spMkLst>
        </pc:spChg>
        <pc:spChg chg="add mod">
          <ac:chgData name="Yi Zhang" userId="d03fca4dc346cac8" providerId="LiveId" clId="{B70A919D-2232-4DEE-B2F9-2ABC0E9E80A7}" dt="2024-01-11T14:05:14.246" v="1481" actId="207"/>
          <ac:spMkLst>
            <pc:docMk/>
            <pc:sldMk cId="3410885507" sldId="345"/>
            <ac:spMk id="10" creationId="{8F565C5F-97B0-4F31-B42C-4563E986F321}"/>
          </ac:spMkLst>
        </pc:spChg>
        <pc:spChg chg="del mod">
          <ac:chgData name="Yi Zhang" userId="d03fca4dc346cac8" providerId="LiveId" clId="{B70A919D-2232-4DEE-B2F9-2ABC0E9E80A7}" dt="2024-01-11T12:48:01.947" v="510" actId="478"/>
          <ac:spMkLst>
            <pc:docMk/>
            <pc:sldMk cId="3410885507" sldId="345"/>
            <ac:spMk id="24" creationId="{094426F6-AB5A-DF8B-10F9-AFEE0B243A79}"/>
          </ac:spMkLst>
        </pc:spChg>
        <pc:picChg chg="add mod">
          <ac:chgData name="Yi Zhang" userId="d03fca4dc346cac8" providerId="LiveId" clId="{B70A919D-2232-4DEE-B2F9-2ABC0E9E80A7}" dt="2024-01-13T08:12:31.191" v="2776"/>
          <ac:picMkLst>
            <pc:docMk/>
            <pc:sldMk cId="3410885507" sldId="345"/>
            <ac:picMk id="5" creationId="{4E6FEF0D-1972-1A6A-02F3-D6B2EA90C081}"/>
          </ac:picMkLst>
        </pc:picChg>
        <pc:picChg chg="mod">
          <ac:chgData name="Yi Zhang" userId="d03fca4dc346cac8" providerId="LiveId" clId="{B70A919D-2232-4DEE-B2F9-2ABC0E9E80A7}" dt="2024-01-11T12:22:16.144" v="173" actId="14100"/>
          <ac:picMkLst>
            <pc:docMk/>
            <pc:sldMk cId="3410885507" sldId="345"/>
            <ac:picMk id="15" creationId="{8B768118-0672-C357-5FF3-830C0D2D05C6}"/>
          </ac:picMkLst>
        </pc:picChg>
        <pc:picChg chg="mod">
          <ac:chgData name="Yi Zhang" userId="d03fca4dc346cac8" providerId="LiveId" clId="{B70A919D-2232-4DEE-B2F9-2ABC0E9E80A7}" dt="2024-01-11T12:22:26.218" v="176" actId="1076"/>
          <ac:picMkLst>
            <pc:docMk/>
            <pc:sldMk cId="3410885507" sldId="345"/>
            <ac:picMk id="18" creationId="{298DE48A-AB83-4B9D-6DC6-B1BBF3237807}"/>
          </ac:picMkLst>
        </pc:picChg>
        <pc:picChg chg="mod">
          <ac:chgData name="Yi Zhang" userId="d03fca4dc346cac8" providerId="LiveId" clId="{B70A919D-2232-4DEE-B2F9-2ABC0E9E80A7}" dt="2024-01-11T12:22:27.453" v="177" actId="1076"/>
          <ac:picMkLst>
            <pc:docMk/>
            <pc:sldMk cId="3410885507" sldId="345"/>
            <ac:picMk id="20" creationId="{BE03A8A2-3D7F-93FC-E6B1-05CE6463F4BD}"/>
          </ac:picMkLst>
        </pc:picChg>
        <pc:cxnChg chg="add mod">
          <ac:chgData name="Yi Zhang" userId="d03fca4dc346cac8" providerId="LiveId" clId="{B70A919D-2232-4DEE-B2F9-2ABC0E9E80A7}" dt="2024-01-11T15:39:23.122" v="2100"/>
          <ac:cxnSpMkLst>
            <pc:docMk/>
            <pc:sldMk cId="3410885507" sldId="345"/>
            <ac:cxnSpMk id="2" creationId="{4ECC0D23-7C62-79ED-5F00-5554B7C86541}"/>
          </ac:cxnSpMkLst>
        </pc:cxnChg>
        <pc:cxnChg chg="del mod">
          <ac:chgData name="Yi Zhang" userId="d03fca4dc346cac8" providerId="LiveId" clId="{B70A919D-2232-4DEE-B2F9-2ABC0E9E80A7}" dt="2024-01-11T15:39:25.054" v="2101" actId="478"/>
          <ac:cxnSpMkLst>
            <pc:docMk/>
            <pc:sldMk cId="3410885507" sldId="345"/>
            <ac:cxnSpMk id="22" creationId="{5EBDFC23-B9F3-1BB6-5040-6E472B598E4D}"/>
          </ac:cxnSpMkLst>
        </pc:cxnChg>
      </pc:sldChg>
      <pc:sldChg chg="addSp delSp modSp add mod modTransition modAnim">
        <pc:chgData name="Yi Zhang" userId="d03fca4dc346cac8" providerId="LiveId" clId="{B70A919D-2232-4DEE-B2F9-2ABC0E9E80A7}" dt="2024-01-13T09:47:53.512" v="3192" actId="1036"/>
        <pc:sldMkLst>
          <pc:docMk/>
          <pc:sldMk cId="3100925274" sldId="346"/>
        </pc:sldMkLst>
        <pc:spChg chg="add mod">
          <ac:chgData name="Yi Zhang" userId="d03fca4dc346cac8" providerId="LiveId" clId="{B70A919D-2232-4DEE-B2F9-2ABC0E9E80A7}" dt="2024-01-13T08:00:56.074" v="2710" actId="1076"/>
          <ac:spMkLst>
            <pc:docMk/>
            <pc:sldMk cId="3100925274" sldId="346"/>
            <ac:spMk id="2" creationId="{CFF46FDC-E286-C6DF-BFE0-436CB8D02C9D}"/>
          </ac:spMkLst>
        </pc:spChg>
        <pc:spChg chg="add mod">
          <ac:chgData name="Yi Zhang" userId="d03fca4dc346cac8" providerId="LiveId" clId="{B70A919D-2232-4DEE-B2F9-2ABC0E9E80A7}" dt="2024-01-13T08:01:37.551" v="2756" actId="14100"/>
          <ac:spMkLst>
            <pc:docMk/>
            <pc:sldMk cId="3100925274" sldId="346"/>
            <ac:spMk id="4" creationId="{B45BBEE2-4763-0019-FDBB-4E2FBF8852C2}"/>
          </ac:spMkLst>
        </pc:spChg>
        <pc:spChg chg="mod">
          <ac:chgData name="Yi Zhang" userId="d03fca4dc346cac8" providerId="LiveId" clId="{B70A919D-2232-4DEE-B2F9-2ABC0E9E80A7}" dt="2024-01-11T14:02:37.115" v="1419" actId="403"/>
          <ac:spMkLst>
            <pc:docMk/>
            <pc:sldMk cId="3100925274" sldId="346"/>
            <ac:spMk id="5" creationId="{5C91977A-2560-2C20-9E81-51770729B4EE}"/>
          </ac:spMkLst>
        </pc:spChg>
        <pc:spChg chg="add mod">
          <ac:chgData name="Yi Zhang" userId="d03fca4dc346cac8" providerId="LiveId" clId="{B70A919D-2232-4DEE-B2F9-2ABC0E9E80A7}" dt="2024-01-13T09:47:53.512" v="3192" actId="1036"/>
          <ac:spMkLst>
            <pc:docMk/>
            <pc:sldMk cId="3100925274" sldId="346"/>
            <ac:spMk id="12" creationId="{56293A80-2879-1B76-F424-0606DDCFABB7}"/>
          </ac:spMkLst>
        </pc:spChg>
        <pc:spChg chg="del">
          <ac:chgData name="Yi Zhang" userId="d03fca4dc346cac8" providerId="LiveId" clId="{B70A919D-2232-4DEE-B2F9-2ABC0E9E80A7}" dt="2024-01-11T12:19:00.617" v="10" actId="478"/>
          <ac:spMkLst>
            <pc:docMk/>
            <pc:sldMk cId="3100925274" sldId="346"/>
            <ac:spMk id="24" creationId="{094426F6-AB5A-DF8B-10F9-AFEE0B243A79}"/>
          </ac:spMkLst>
        </pc:spChg>
        <pc:picChg chg="add mod">
          <ac:chgData name="Yi Zhang" userId="d03fca4dc346cac8" providerId="LiveId" clId="{B70A919D-2232-4DEE-B2F9-2ABC0E9E80A7}" dt="2024-01-13T08:12:25.924" v="2775" actId="14100"/>
          <ac:picMkLst>
            <pc:docMk/>
            <pc:sldMk cId="3100925274" sldId="346"/>
            <ac:picMk id="3" creationId="{D998BEC1-7058-25BF-0EBF-F729E32F53A2}"/>
          </ac:picMkLst>
        </pc:picChg>
        <pc:picChg chg="add mod ord">
          <ac:chgData name="Yi Zhang" userId="d03fca4dc346cac8" providerId="LiveId" clId="{B70A919D-2232-4DEE-B2F9-2ABC0E9E80A7}" dt="2024-01-11T12:32:32.044" v="272" actId="1076"/>
          <ac:picMkLst>
            <pc:docMk/>
            <pc:sldMk cId="3100925274" sldId="346"/>
            <ac:picMk id="7" creationId="{8D012915-BD6F-BE44-4945-271EC929B941}"/>
          </ac:picMkLst>
        </pc:picChg>
        <pc:picChg chg="add del mod">
          <ac:chgData name="Yi Zhang" userId="d03fca4dc346cac8" providerId="LiveId" clId="{B70A919D-2232-4DEE-B2F9-2ABC0E9E80A7}" dt="2024-01-11T12:29:26.603" v="210" actId="478"/>
          <ac:picMkLst>
            <pc:docMk/>
            <pc:sldMk cId="3100925274" sldId="346"/>
            <ac:picMk id="9" creationId="{59367AE2-0B3F-327E-64D6-FD86B3BA99B7}"/>
          </ac:picMkLst>
        </pc:picChg>
        <pc:picChg chg="add mod modCrop">
          <ac:chgData name="Yi Zhang" userId="d03fca4dc346cac8" providerId="LiveId" clId="{B70A919D-2232-4DEE-B2F9-2ABC0E9E80A7}" dt="2024-01-11T12:32:57.405" v="274" actId="732"/>
          <ac:picMkLst>
            <pc:docMk/>
            <pc:sldMk cId="3100925274" sldId="346"/>
            <ac:picMk id="11" creationId="{C48415CD-EF6A-7C90-0934-2E98AADF26ED}"/>
          </ac:picMkLst>
        </pc:picChg>
        <pc:picChg chg="mod">
          <ac:chgData name="Yi Zhang" userId="d03fca4dc346cac8" providerId="LiveId" clId="{B70A919D-2232-4DEE-B2F9-2ABC0E9E80A7}" dt="2024-01-11T14:02:42.109" v="1433" actId="1036"/>
          <ac:picMkLst>
            <pc:docMk/>
            <pc:sldMk cId="3100925274" sldId="346"/>
            <ac:picMk id="15" creationId="{8B768118-0672-C357-5FF3-830C0D2D05C6}"/>
          </ac:picMkLst>
        </pc:picChg>
        <pc:picChg chg="mod">
          <ac:chgData name="Yi Zhang" userId="d03fca4dc346cac8" providerId="LiveId" clId="{B70A919D-2232-4DEE-B2F9-2ABC0E9E80A7}" dt="2024-01-11T14:02:43.128" v="1434" actId="1076"/>
          <ac:picMkLst>
            <pc:docMk/>
            <pc:sldMk cId="3100925274" sldId="346"/>
            <ac:picMk id="18" creationId="{298DE48A-AB83-4B9D-6DC6-B1BBF3237807}"/>
          </ac:picMkLst>
        </pc:picChg>
        <pc:picChg chg="mod">
          <ac:chgData name="Yi Zhang" userId="d03fca4dc346cac8" providerId="LiveId" clId="{B70A919D-2232-4DEE-B2F9-2ABC0E9E80A7}" dt="2024-01-11T14:02:45.036" v="1436" actId="1076"/>
          <ac:picMkLst>
            <pc:docMk/>
            <pc:sldMk cId="3100925274" sldId="346"/>
            <ac:picMk id="20" creationId="{BE03A8A2-3D7F-93FC-E6B1-05CE6463F4BD}"/>
          </ac:picMkLst>
        </pc:picChg>
        <pc:cxnChg chg="del">
          <ac:chgData name="Yi Zhang" userId="d03fca4dc346cac8" providerId="LiveId" clId="{B70A919D-2232-4DEE-B2F9-2ABC0E9E80A7}" dt="2024-01-11T12:19:01.484" v="11" actId="478"/>
          <ac:cxnSpMkLst>
            <pc:docMk/>
            <pc:sldMk cId="3100925274" sldId="346"/>
            <ac:cxnSpMk id="22" creationId="{5EBDFC23-B9F3-1BB6-5040-6E472B598E4D}"/>
          </ac:cxnSpMkLst>
        </pc:cxnChg>
      </pc:sldChg>
      <pc:sldChg chg="addSp delSp modSp add mod modAnim">
        <pc:chgData name="Yi Zhang" userId="d03fca4dc346cac8" providerId="LiveId" clId="{B70A919D-2232-4DEE-B2F9-2ABC0E9E80A7}" dt="2024-01-13T08:12:33.004" v="2777"/>
        <pc:sldMkLst>
          <pc:docMk/>
          <pc:sldMk cId="681807661" sldId="347"/>
        </pc:sldMkLst>
        <pc:spChg chg="add mod">
          <ac:chgData name="Yi Zhang" userId="d03fca4dc346cac8" providerId="LiveId" clId="{B70A919D-2232-4DEE-B2F9-2ABC0E9E80A7}" dt="2024-01-11T12:46:51.210" v="506" actId="1036"/>
          <ac:spMkLst>
            <pc:docMk/>
            <pc:sldMk cId="681807661" sldId="347"/>
            <ac:spMk id="2" creationId="{61B7FB74-0F56-2069-2B53-32891BF2E64A}"/>
          </ac:spMkLst>
        </pc:spChg>
        <pc:spChg chg="mod">
          <ac:chgData name="Yi Zhang" userId="d03fca4dc346cac8" providerId="LiveId" clId="{B70A919D-2232-4DEE-B2F9-2ABC0E9E80A7}" dt="2024-01-13T07:53:50.358" v="2581" actId="1076"/>
          <ac:spMkLst>
            <pc:docMk/>
            <pc:sldMk cId="681807661" sldId="347"/>
            <ac:spMk id="4" creationId="{2AAAC178-53B3-1A31-DC41-5C9E0110364D}"/>
          </ac:spMkLst>
        </pc:spChg>
        <pc:spChg chg="add del mod">
          <ac:chgData name="Yi Zhang" userId="d03fca4dc346cac8" providerId="LiveId" clId="{B70A919D-2232-4DEE-B2F9-2ABC0E9E80A7}" dt="2024-01-11T14:03:08.472" v="1443" actId="478"/>
          <ac:spMkLst>
            <pc:docMk/>
            <pc:sldMk cId="681807661" sldId="347"/>
            <ac:spMk id="5" creationId="{5C91977A-2560-2C20-9E81-51770729B4EE}"/>
          </ac:spMkLst>
        </pc:spChg>
        <pc:spChg chg="add mod">
          <ac:chgData name="Yi Zhang" userId="d03fca4dc346cac8" providerId="LiveId" clId="{B70A919D-2232-4DEE-B2F9-2ABC0E9E80A7}" dt="2024-01-11T12:46:51.210" v="506" actId="1036"/>
          <ac:spMkLst>
            <pc:docMk/>
            <pc:sldMk cId="681807661" sldId="347"/>
            <ac:spMk id="6" creationId="{CDEF1CFA-94BF-58E5-9B66-219A6A75ECB9}"/>
          </ac:spMkLst>
        </pc:spChg>
        <pc:spChg chg="del">
          <ac:chgData name="Yi Zhang" userId="d03fca4dc346cac8" providerId="LiveId" clId="{B70A919D-2232-4DEE-B2F9-2ABC0E9E80A7}" dt="2024-01-11T12:46:21.498" v="460" actId="478"/>
          <ac:spMkLst>
            <pc:docMk/>
            <pc:sldMk cId="681807661" sldId="347"/>
            <ac:spMk id="7" creationId="{8CE1A536-AE4F-1152-D305-FC9727527A4D}"/>
          </ac:spMkLst>
        </pc:spChg>
        <pc:spChg chg="add mod">
          <ac:chgData name="Yi Zhang" userId="d03fca4dc346cac8" providerId="LiveId" clId="{B70A919D-2232-4DEE-B2F9-2ABC0E9E80A7}" dt="2024-01-11T14:03:04.092" v="1441"/>
          <ac:spMkLst>
            <pc:docMk/>
            <pc:sldMk cId="681807661" sldId="347"/>
            <ac:spMk id="8" creationId="{D6E42A04-46CB-760D-3802-FA68A743B567}"/>
          </ac:spMkLst>
        </pc:spChg>
        <pc:spChg chg="add mod">
          <ac:chgData name="Yi Zhang" userId="d03fca4dc346cac8" providerId="LiveId" clId="{B70A919D-2232-4DEE-B2F9-2ABC0E9E80A7}" dt="2024-01-11T14:05:17.153" v="1482" actId="207"/>
          <ac:spMkLst>
            <pc:docMk/>
            <pc:sldMk cId="681807661" sldId="347"/>
            <ac:spMk id="9" creationId="{D7356E68-1C3F-07CB-AD70-50221AE1A662}"/>
          </ac:spMkLst>
        </pc:spChg>
        <pc:spChg chg="del">
          <ac:chgData name="Yi Zhang" userId="d03fca4dc346cac8" providerId="LiveId" clId="{B70A919D-2232-4DEE-B2F9-2ABC0E9E80A7}" dt="2024-01-11T12:46:21.498" v="460" actId="478"/>
          <ac:spMkLst>
            <pc:docMk/>
            <pc:sldMk cId="681807661" sldId="347"/>
            <ac:spMk id="24" creationId="{094426F6-AB5A-DF8B-10F9-AFEE0B243A79}"/>
          </ac:spMkLst>
        </pc:spChg>
        <pc:picChg chg="add mod">
          <ac:chgData name="Yi Zhang" userId="d03fca4dc346cac8" providerId="LiveId" clId="{B70A919D-2232-4DEE-B2F9-2ABC0E9E80A7}" dt="2024-01-13T08:12:33.004" v="2777"/>
          <ac:picMkLst>
            <pc:docMk/>
            <pc:sldMk cId="681807661" sldId="347"/>
            <ac:picMk id="5" creationId="{0977B00D-9094-4987-CBDA-34988DD2399D}"/>
          </ac:picMkLst>
        </pc:picChg>
        <pc:cxnChg chg="mod">
          <ac:chgData name="Yi Zhang" userId="d03fca4dc346cac8" providerId="LiveId" clId="{B70A919D-2232-4DEE-B2F9-2ABC0E9E80A7}" dt="2024-01-11T15:39:17.627" v="2099" actId="1037"/>
          <ac:cxnSpMkLst>
            <pc:docMk/>
            <pc:sldMk cId="681807661" sldId="347"/>
            <ac:cxnSpMk id="22" creationId="{5EBDFC23-B9F3-1BB6-5040-6E472B598E4D}"/>
          </ac:cxnSpMkLst>
        </pc:cxnChg>
      </pc:sldChg>
      <pc:sldChg chg="add del">
        <pc:chgData name="Yi Zhang" userId="d03fca4dc346cac8" providerId="LiveId" clId="{B70A919D-2232-4DEE-B2F9-2ABC0E9E80A7}" dt="2024-01-11T13:12:30.480" v="523" actId="47"/>
        <pc:sldMkLst>
          <pc:docMk/>
          <pc:sldMk cId="713327600" sldId="348"/>
        </pc:sldMkLst>
      </pc:sldChg>
      <pc:sldChg chg="addSp delSp modSp add del mod">
        <pc:chgData name="Yi Zhang" userId="d03fca4dc346cac8" providerId="LiveId" clId="{B70A919D-2232-4DEE-B2F9-2ABC0E9E80A7}" dt="2024-01-13T07:53:10.770" v="2577" actId="47"/>
        <pc:sldMkLst>
          <pc:docMk/>
          <pc:sldMk cId="1446417892" sldId="348"/>
        </pc:sldMkLst>
        <pc:spChg chg="add mod">
          <ac:chgData name="Yi Zhang" userId="d03fca4dc346cac8" providerId="LiveId" clId="{B70A919D-2232-4DEE-B2F9-2ABC0E9E80A7}" dt="2024-01-11T13:41:04.060" v="1024" actId="2711"/>
          <ac:spMkLst>
            <pc:docMk/>
            <pc:sldMk cId="1446417892" sldId="348"/>
            <ac:spMk id="2" creationId="{12C97244-CCE3-500D-C1F4-4301FD4F071C}"/>
          </ac:spMkLst>
        </pc:spChg>
        <pc:spChg chg="add mod">
          <ac:chgData name="Yi Zhang" userId="d03fca4dc346cac8" providerId="LiveId" clId="{B70A919D-2232-4DEE-B2F9-2ABC0E9E80A7}" dt="2024-01-11T13:40:50.213" v="1021" actId="14100"/>
          <ac:spMkLst>
            <pc:docMk/>
            <pc:sldMk cId="1446417892" sldId="348"/>
            <ac:spMk id="4" creationId="{B13A7043-A5CB-CDF7-1CAE-216AB1B4DF87}"/>
          </ac:spMkLst>
        </pc:spChg>
        <pc:spChg chg="add mod">
          <ac:chgData name="Yi Zhang" userId="d03fca4dc346cac8" providerId="LiveId" clId="{B70A919D-2232-4DEE-B2F9-2ABC0E9E80A7}" dt="2024-01-13T01:24:13.157" v="2408" actId="207"/>
          <ac:spMkLst>
            <pc:docMk/>
            <pc:sldMk cId="1446417892" sldId="348"/>
            <ac:spMk id="5" creationId="{B8DF2865-A7ED-3A8B-B170-60BD2888043A}"/>
          </ac:spMkLst>
        </pc:spChg>
        <pc:spChg chg="del mod">
          <ac:chgData name="Yi Zhang" userId="d03fca4dc346cac8" providerId="LiveId" clId="{B70A919D-2232-4DEE-B2F9-2ABC0E9E80A7}" dt="2024-01-11T14:03:16.309" v="1447" actId="478"/>
          <ac:spMkLst>
            <pc:docMk/>
            <pc:sldMk cId="1446417892" sldId="348"/>
            <ac:spMk id="16" creationId="{DE232342-7C8B-4459-770F-AB86351B325D}"/>
          </ac:spMkLst>
        </pc:spChg>
        <pc:spChg chg="mod">
          <ac:chgData name="Yi Zhang" userId="d03fca4dc346cac8" providerId="LiveId" clId="{B70A919D-2232-4DEE-B2F9-2ABC0E9E80A7}" dt="2024-01-11T14:03:46.430" v="1470" actId="1076"/>
          <ac:spMkLst>
            <pc:docMk/>
            <pc:sldMk cId="1446417892" sldId="348"/>
            <ac:spMk id="18" creationId="{D9D968E1-6417-97EC-0B3D-579EAA73619B}"/>
          </ac:spMkLst>
        </pc:spChg>
        <pc:spChg chg="mod">
          <ac:chgData name="Yi Zhang" userId="d03fca4dc346cac8" providerId="LiveId" clId="{B70A919D-2232-4DEE-B2F9-2ABC0E9E80A7}" dt="2024-01-13T01:31:44.759" v="2563" actId="113"/>
          <ac:spMkLst>
            <pc:docMk/>
            <pc:sldMk cId="1446417892" sldId="348"/>
            <ac:spMk id="22" creationId="{176309FD-E413-3B28-EFD0-CBAB71465AE6}"/>
          </ac:spMkLst>
        </pc:spChg>
        <pc:picChg chg="mod">
          <ac:chgData name="Yi Zhang" userId="d03fca4dc346cac8" providerId="LiveId" clId="{B70A919D-2232-4DEE-B2F9-2ABC0E9E80A7}" dt="2024-01-11T14:03:43.185" v="1469" actId="1076"/>
          <ac:picMkLst>
            <pc:docMk/>
            <pc:sldMk cId="1446417892" sldId="348"/>
            <ac:picMk id="21" creationId="{C1A21FB6-CFDD-8A3F-B30A-FCBE7BFF194C}"/>
          </ac:picMkLst>
        </pc:picChg>
      </pc:sldChg>
      <pc:sldChg chg="add del">
        <pc:chgData name="Yi Zhang" userId="d03fca4dc346cac8" providerId="LiveId" clId="{B70A919D-2232-4DEE-B2F9-2ABC0E9E80A7}" dt="2024-01-11T13:11:56.771" v="514"/>
        <pc:sldMkLst>
          <pc:docMk/>
          <pc:sldMk cId="3158230145" sldId="348"/>
        </pc:sldMkLst>
      </pc:sldChg>
      <pc:sldChg chg="addSp delSp modSp add mod modAnim">
        <pc:chgData name="Yi Zhang" userId="d03fca4dc346cac8" providerId="LiveId" clId="{B70A919D-2232-4DEE-B2F9-2ABC0E9E80A7}" dt="2024-01-13T08:39:47.692" v="2799"/>
        <pc:sldMkLst>
          <pc:docMk/>
          <pc:sldMk cId="2303218257" sldId="349"/>
        </pc:sldMkLst>
        <pc:spChg chg="del">
          <ac:chgData name="Yi Zhang" userId="d03fca4dc346cac8" providerId="LiveId" clId="{B70A919D-2232-4DEE-B2F9-2ABC0E9E80A7}" dt="2024-01-11T13:41:36.806" v="1027" actId="478"/>
          <ac:spMkLst>
            <pc:docMk/>
            <pc:sldMk cId="2303218257" sldId="349"/>
            <ac:spMk id="2" creationId="{12C97244-CCE3-500D-C1F4-4301FD4F071C}"/>
          </ac:spMkLst>
        </pc:spChg>
        <pc:spChg chg="add mod">
          <ac:chgData name="Yi Zhang" userId="d03fca4dc346cac8" providerId="LiveId" clId="{B70A919D-2232-4DEE-B2F9-2ABC0E9E80A7}" dt="2024-01-11T13:45:55.841" v="1169" actId="115"/>
          <ac:spMkLst>
            <pc:docMk/>
            <pc:sldMk cId="2303218257" sldId="349"/>
            <ac:spMk id="3" creationId="{80974E9C-174A-5620-B20C-BE9A57FC69EB}"/>
          </ac:spMkLst>
        </pc:spChg>
        <pc:spChg chg="mod">
          <ac:chgData name="Yi Zhang" userId="d03fca4dc346cac8" providerId="LiveId" clId="{B70A919D-2232-4DEE-B2F9-2ABC0E9E80A7}" dt="2024-01-11T14:03:34.582" v="1466" actId="1076"/>
          <ac:spMkLst>
            <pc:docMk/>
            <pc:sldMk cId="2303218257" sldId="349"/>
            <ac:spMk id="4" creationId="{B13A7043-A5CB-CDF7-1CAE-216AB1B4DF87}"/>
          </ac:spMkLst>
        </pc:spChg>
        <pc:spChg chg="add mod">
          <ac:chgData name="Yi Zhang" userId="d03fca4dc346cac8" providerId="LiveId" clId="{B70A919D-2232-4DEE-B2F9-2ABC0E9E80A7}" dt="2024-01-11T13:51:17.922" v="1229" actId="1076"/>
          <ac:spMkLst>
            <pc:docMk/>
            <pc:sldMk cId="2303218257" sldId="349"/>
            <ac:spMk id="6" creationId="{80640AF7-5EC1-DE67-5ED9-29FAA8B79D8A}"/>
          </ac:spMkLst>
        </pc:spChg>
        <pc:spChg chg="add mod">
          <ac:chgData name="Yi Zhang" userId="d03fca4dc346cac8" providerId="LiveId" clId="{B70A919D-2232-4DEE-B2F9-2ABC0E9E80A7}" dt="2024-01-11T13:48:34.140" v="1212" actId="1076"/>
          <ac:spMkLst>
            <pc:docMk/>
            <pc:sldMk cId="2303218257" sldId="349"/>
            <ac:spMk id="7" creationId="{FA62E01D-9904-39B1-D916-2A64F3850911}"/>
          </ac:spMkLst>
        </pc:spChg>
        <pc:spChg chg="add mod">
          <ac:chgData name="Yi Zhang" userId="d03fca4dc346cac8" providerId="LiveId" clId="{B70A919D-2232-4DEE-B2F9-2ABC0E9E80A7}" dt="2024-01-13T01:32:12.930" v="2566" actId="113"/>
          <ac:spMkLst>
            <pc:docMk/>
            <pc:sldMk cId="2303218257" sldId="349"/>
            <ac:spMk id="15" creationId="{5C713BEB-7535-AF32-F15E-278C296CCEAB}"/>
          </ac:spMkLst>
        </pc:spChg>
        <pc:spChg chg="del mod">
          <ac:chgData name="Yi Zhang" userId="d03fca4dc346cac8" providerId="LiveId" clId="{B70A919D-2232-4DEE-B2F9-2ABC0E9E80A7}" dt="2024-01-11T14:03:21.086" v="1449" actId="478"/>
          <ac:spMkLst>
            <pc:docMk/>
            <pc:sldMk cId="2303218257" sldId="349"/>
            <ac:spMk id="16" creationId="{DE232342-7C8B-4459-770F-AB86351B325D}"/>
          </ac:spMkLst>
        </pc:spChg>
        <pc:spChg chg="add mod">
          <ac:chgData name="Yi Zhang" userId="d03fca4dc346cac8" providerId="LiveId" clId="{B70A919D-2232-4DEE-B2F9-2ABC0E9E80A7}" dt="2024-01-13T08:11:57.408" v="2772" actId="207"/>
          <ac:spMkLst>
            <pc:docMk/>
            <pc:sldMk cId="2303218257" sldId="349"/>
            <ac:spMk id="17" creationId="{7A9F498D-E75F-ECB1-6B2F-0044E23257C4}"/>
          </ac:spMkLst>
        </pc:spChg>
        <pc:spChg chg="del">
          <ac:chgData name="Yi Zhang" userId="d03fca4dc346cac8" providerId="LiveId" clId="{B70A919D-2232-4DEE-B2F9-2ABC0E9E80A7}" dt="2024-01-11T13:41:40.567" v="1030" actId="478"/>
          <ac:spMkLst>
            <pc:docMk/>
            <pc:sldMk cId="2303218257" sldId="349"/>
            <ac:spMk id="18" creationId="{D9D968E1-6417-97EC-0B3D-579EAA73619B}"/>
          </ac:spMkLst>
        </pc:spChg>
        <pc:spChg chg="del">
          <ac:chgData name="Yi Zhang" userId="d03fca4dc346cac8" providerId="LiveId" clId="{B70A919D-2232-4DEE-B2F9-2ABC0E9E80A7}" dt="2024-01-11T13:41:38.076" v="1028" actId="478"/>
          <ac:spMkLst>
            <pc:docMk/>
            <pc:sldMk cId="2303218257" sldId="349"/>
            <ac:spMk id="22" creationId="{176309FD-E413-3B28-EFD0-CBAB71465AE6}"/>
          </ac:spMkLst>
        </pc:spChg>
        <pc:picChg chg="add mod">
          <ac:chgData name="Yi Zhang" userId="d03fca4dc346cac8" providerId="LiveId" clId="{B70A919D-2232-4DEE-B2F9-2ABC0E9E80A7}" dt="2024-01-13T08:12:37.073" v="2779"/>
          <ac:picMkLst>
            <pc:docMk/>
            <pc:sldMk cId="2303218257" sldId="349"/>
            <ac:picMk id="2" creationId="{83FCBCBE-0243-F2A8-DF87-9BB424876650}"/>
          </ac:picMkLst>
        </pc:picChg>
        <pc:picChg chg="add mod">
          <ac:chgData name="Yi Zhang" userId="d03fca4dc346cac8" providerId="LiveId" clId="{B70A919D-2232-4DEE-B2F9-2ABC0E9E80A7}" dt="2024-01-11T13:50:06.296" v="1224" actId="14100"/>
          <ac:picMkLst>
            <pc:docMk/>
            <pc:sldMk cId="2303218257" sldId="349"/>
            <ac:picMk id="9" creationId="{D923C031-C64A-0206-7BDF-60E751FEE830}"/>
          </ac:picMkLst>
        </pc:picChg>
        <pc:picChg chg="add mod">
          <ac:chgData name="Yi Zhang" userId="d03fca4dc346cac8" providerId="LiveId" clId="{B70A919D-2232-4DEE-B2F9-2ABC0E9E80A7}" dt="2024-01-11T13:49:33.065" v="1222" actId="14100"/>
          <ac:picMkLst>
            <pc:docMk/>
            <pc:sldMk cId="2303218257" sldId="349"/>
            <ac:picMk id="11" creationId="{F1FD9E4C-2FB7-CA9D-5A5A-9F10039F22CE}"/>
          </ac:picMkLst>
        </pc:picChg>
        <pc:picChg chg="add mod">
          <ac:chgData name="Yi Zhang" userId="d03fca4dc346cac8" providerId="LiveId" clId="{B70A919D-2232-4DEE-B2F9-2ABC0E9E80A7}" dt="2024-01-11T13:51:15.112" v="1228" actId="14100"/>
          <ac:picMkLst>
            <pc:docMk/>
            <pc:sldMk cId="2303218257" sldId="349"/>
            <ac:picMk id="13" creationId="{C3D03569-AC45-9840-722D-6A3E85B33C95}"/>
          </ac:picMkLst>
        </pc:picChg>
        <pc:picChg chg="del">
          <ac:chgData name="Yi Zhang" userId="d03fca4dc346cac8" providerId="LiveId" clId="{B70A919D-2232-4DEE-B2F9-2ABC0E9E80A7}" dt="2024-01-11T13:41:39.015" v="1029" actId="478"/>
          <ac:picMkLst>
            <pc:docMk/>
            <pc:sldMk cId="2303218257" sldId="349"/>
            <ac:picMk id="21" creationId="{C1A21FB6-CFDD-8A3F-B30A-FCBE7BFF194C}"/>
          </ac:picMkLst>
        </pc:picChg>
      </pc:sldChg>
      <pc:sldChg chg="addSp delSp modSp add mod modAnim">
        <pc:chgData name="Yi Zhang" userId="d03fca4dc346cac8" providerId="LiveId" clId="{B70A919D-2232-4DEE-B2F9-2ABC0E9E80A7}" dt="2024-01-13T09:20:59.029" v="3092" actId="1076"/>
        <pc:sldMkLst>
          <pc:docMk/>
          <pc:sldMk cId="629212432" sldId="350"/>
        </pc:sldMkLst>
        <pc:spChg chg="del mod">
          <ac:chgData name="Yi Zhang" userId="d03fca4dc346cac8" providerId="LiveId" clId="{B70A919D-2232-4DEE-B2F9-2ABC0E9E80A7}" dt="2024-01-11T14:04:44.847" v="1476" actId="478"/>
          <ac:spMkLst>
            <pc:docMk/>
            <pc:sldMk cId="629212432" sldId="350"/>
            <ac:spMk id="3" creationId="{80974E9C-174A-5620-B20C-BE9A57FC69EB}"/>
          </ac:spMkLst>
        </pc:spChg>
        <pc:spChg chg="del">
          <ac:chgData name="Yi Zhang" userId="d03fca4dc346cac8" providerId="LiveId" clId="{B70A919D-2232-4DEE-B2F9-2ABC0E9E80A7}" dt="2024-01-11T14:04:41.726" v="1474" actId="478"/>
          <ac:spMkLst>
            <pc:docMk/>
            <pc:sldMk cId="629212432" sldId="350"/>
            <ac:spMk id="4" creationId="{B13A7043-A5CB-CDF7-1CAE-216AB1B4DF87}"/>
          </ac:spMkLst>
        </pc:spChg>
        <pc:spChg chg="del">
          <ac:chgData name="Yi Zhang" userId="d03fca4dc346cac8" providerId="LiveId" clId="{B70A919D-2232-4DEE-B2F9-2ABC0E9E80A7}" dt="2024-01-11T14:04:46.854" v="1477" actId="478"/>
          <ac:spMkLst>
            <pc:docMk/>
            <pc:sldMk cId="629212432" sldId="350"/>
            <ac:spMk id="6" creationId="{80640AF7-5EC1-DE67-5ED9-29FAA8B79D8A}"/>
          </ac:spMkLst>
        </pc:spChg>
        <pc:spChg chg="del">
          <ac:chgData name="Yi Zhang" userId="d03fca4dc346cac8" providerId="LiveId" clId="{B70A919D-2232-4DEE-B2F9-2ABC0E9E80A7}" dt="2024-01-11T14:04:46.854" v="1477" actId="478"/>
          <ac:spMkLst>
            <pc:docMk/>
            <pc:sldMk cId="629212432" sldId="350"/>
            <ac:spMk id="7" creationId="{FA62E01D-9904-39B1-D916-2A64F3850911}"/>
          </ac:spMkLst>
        </pc:spChg>
        <pc:spChg chg="add mod">
          <ac:chgData name="Yi Zhang" userId="d03fca4dc346cac8" providerId="LiveId" clId="{B70A919D-2232-4DEE-B2F9-2ABC0E9E80A7}" dt="2024-01-11T14:42:40.456" v="1610" actId="1076"/>
          <ac:spMkLst>
            <pc:docMk/>
            <pc:sldMk cId="629212432" sldId="350"/>
            <ac:spMk id="8" creationId="{4991588C-6B17-8732-173F-43DE50AF9B2A}"/>
          </ac:spMkLst>
        </pc:spChg>
        <pc:spChg chg="add mod">
          <ac:chgData name="Yi Zhang" userId="d03fca4dc346cac8" providerId="LiveId" clId="{B70A919D-2232-4DEE-B2F9-2ABC0E9E80A7}" dt="2024-01-11T14:42:42.802" v="1611" actId="1076"/>
          <ac:spMkLst>
            <pc:docMk/>
            <pc:sldMk cId="629212432" sldId="350"/>
            <ac:spMk id="12" creationId="{89FEE20D-4DDC-3934-92E5-7106067740C0}"/>
          </ac:spMkLst>
        </pc:spChg>
        <pc:spChg chg="del">
          <ac:chgData name="Yi Zhang" userId="d03fca4dc346cac8" providerId="LiveId" clId="{B70A919D-2232-4DEE-B2F9-2ABC0E9E80A7}" dt="2024-01-11T14:04:46.854" v="1477" actId="478"/>
          <ac:spMkLst>
            <pc:docMk/>
            <pc:sldMk cId="629212432" sldId="350"/>
            <ac:spMk id="15" creationId="{5C713BEB-7535-AF32-F15E-278C296CCEAB}"/>
          </ac:spMkLst>
        </pc:spChg>
        <pc:spChg chg="mod">
          <ac:chgData name="Yi Zhang" userId="d03fca4dc346cac8" providerId="LiveId" clId="{B70A919D-2232-4DEE-B2F9-2ABC0E9E80A7}" dt="2024-01-11T14:05:33.710" v="1486" actId="207"/>
          <ac:spMkLst>
            <pc:docMk/>
            <pc:sldMk cId="629212432" sldId="350"/>
            <ac:spMk id="17" creationId="{7A9F498D-E75F-ECB1-6B2F-0044E23257C4}"/>
          </ac:spMkLst>
        </pc:spChg>
        <pc:picChg chg="add mod">
          <ac:chgData name="Yi Zhang" userId="d03fca4dc346cac8" providerId="LiveId" clId="{B70A919D-2232-4DEE-B2F9-2ABC0E9E80A7}" dt="2024-01-12T13:59:17.781" v="2342" actId="14100"/>
          <ac:picMkLst>
            <pc:docMk/>
            <pc:sldMk cId="629212432" sldId="350"/>
            <ac:picMk id="2" creationId="{B84AB180-7D22-9803-DAC0-6B40384A0BA2}"/>
          </ac:picMkLst>
        </pc:picChg>
        <pc:picChg chg="add mod">
          <ac:chgData name="Yi Zhang" userId="d03fca4dc346cac8" providerId="LiveId" clId="{B70A919D-2232-4DEE-B2F9-2ABC0E9E80A7}" dt="2024-01-13T08:12:39.238" v="2780"/>
          <ac:picMkLst>
            <pc:docMk/>
            <pc:sldMk cId="629212432" sldId="350"/>
            <ac:picMk id="3" creationId="{B1EF308C-C6D9-7F2B-B1A3-5288E40AAE00}"/>
          </ac:picMkLst>
        </pc:picChg>
        <pc:picChg chg="add mod">
          <ac:chgData name="Yi Zhang" userId="d03fca4dc346cac8" providerId="LiveId" clId="{B70A919D-2232-4DEE-B2F9-2ABC0E9E80A7}" dt="2024-01-13T09:20:51.980" v="3090" actId="1076"/>
          <ac:picMkLst>
            <pc:docMk/>
            <pc:sldMk cId="629212432" sldId="350"/>
            <ac:picMk id="4" creationId="{A6B76918-BF55-07EA-614C-00619FD72B26}"/>
          </ac:picMkLst>
        </pc:picChg>
        <pc:picChg chg="add mod">
          <ac:chgData name="Yi Zhang" userId="d03fca4dc346cac8" providerId="LiveId" clId="{B70A919D-2232-4DEE-B2F9-2ABC0E9E80A7}" dt="2024-01-12T13:59:20.964" v="2344" actId="14100"/>
          <ac:picMkLst>
            <pc:docMk/>
            <pc:sldMk cId="629212432" sldId="350"/>
            <ac:picMk id="5" creationId="{31CFBE89-2CFF-E685-9979-45B85244B30E}"/>
          </ac:picMkLst>
        </pc:picChg>
        <pc:picChg chg="add mod">
          <ac:chgData name="Yi Zhang" userId="d03fca4dc346cac8" providerId="LiveId" clId="{B70A919D-2232-4DEE-B2F9-2ABC0E9E80A7}" dt="2024-01-13T09:20:59.029" v="3092" actId="1076"/>
          <ac:picMkLst>
            <pc:docMk/>
            <pc:sldMk cId="629212432" sldId="350"/>
            <ac:picMk id="7" creationId="{1776B967-A9CB-D602-D799-7F8F2CD02EB1}"/>
          </ac:picMkLst>
        </pc:picChg>
        <pc:picChg chg="del">
          <ac:chgData name="Yi Zhang" userId="d03fca4dc346cac8" providerId="LiveId" clId="{B70A919D-2232-4DEE-B2F9-2ABC0E9E80A7}" dt="2024-01-11T14:04:46.854" v="1477" actId="478"/>
          <ac:picMkLst>
            <pc:docMk/>
            <pc:sldMk cId="629212432" sldId="350"/>
            <ac:picMk id="9" creationId="{D923C031-C64A-0206-7BDF-60E751FEE830}"/>
          </ac:picMkLst>
        </pc:picChg>
        <pc:picChg chg="del">
          <ac:chgData name="Yi Zhang" userId="d03fca4dc346cac8" providerId="LiveId" clId="{B70A919D-2232-4DEE-B2F9-2ABC0E9E80A7}" dt="2024-01-11T14:04:46.854" v="1477" actId="478"/>
          <ac:picMkLst>
            <pc:docMk/>
            <pc:sldMk cId="629212432" sldId="350"/>
            <ac:picMk id="11" creationId="{F1FD9E4C-2FB7-CA9D-5A5A-9F10039F22CE}"/>
          </ac:picMkLst>
        </pc:picChg>
        <pc:picChg chg="del">
          <ac:chgData name="Yi Zhang" userId="d03fca4dc346cac8" providerId="LiveId" clId="{B70A919D-2232-4DEE-B2F9-2ABC0E9E80A7}" dt="2024-01-11T14:04:46.854" v="1477" actId="478"/>
          <ac:picMkLst>
            <pc:docMk/>
            <pc:sldMk cId="629212432" sldId="350"/>
            <ac:picMk id="13" creationId="{C3D03569-AC45-9840-722D-6A3E85B33C95}"/>
          </ac:picMkLst>
        </pc:picChg>
      </pc:sldChg>
      <pc:sldChg chg="addSp delSp modSp add mod">
        <pc:chgData name="Yi Zhang" userId="d03fca4dc346cac8" providerId="LiveId" clId="{B70A919D-2232-4DEE-B2F9-2ABC0E9E80A7}" dt="2024-01-13T08:12:44.090" v="2782"/>
        <pc:sldMkLst>
          <pc:docMk/>
          <pc:sldMk cId="2203320774" sldId="351"/>
        </pc:sldMkLst>
        <pc:spChg chg="mod">
          <ac:chgData name="Yi Zhang" userId="d03fca4dc346cac8" providerId="LiveId" clId="{B70A919D-2232-4DEE-B2F9-2ABC0E9E80A7}" dt="2024-01-11T14:43:52.824" v="1620"/>
          <ac:spMkLst>
            <pc:docMk/>
            <pc:sldMk cId="2203320774" sldId="351"/>
            <ac:spMk id="6" creationId="{B07BB4C7-DA5B-DC58-D09A-769D5088EAD8}"/>
          </ac:spMkLst>
        </pc:spChg>
        <pc:spChg chg="add mod">
          <ac:chgData name="Yi Zhang" userId="d03fca4dc346cac8" providerId="LiveId" clId="{B70A919D-2232-4DEE-B2F9-2ABC0E9E80A7}" dt="2024-01-11T14:44:04.170" v="1623" actId="1076"/>
          <ac:spMkLst>
            <pc:docMk/>
            <pc:sldMk cId="2203320774" sldId="351"/>
            <ac:spMk id="9" creationId="{FD53BF4A-714C-D68C-0E04-AA4553099D9C}"/>
          </ac:spMkLst>
        </pc:spChg>
        <pc:spChg chg="del">
          <ac:chgData name="Yi Zhang" userId="d03fca4dc346cac8" providerId="LiveId" clId="{B70A919D-2232-4DEE-B2F9-2ABC0E9E80A7}" dt="2024-01-11T14:43:47.302" v="1615" actId="478"/>
          <ac:spMkLst>
            <pc:docMk/>
            <pc:sldMk cId="2203320774" sldId="351"/>
            <ac:spMk id="12" creationId="{89FEE20D-4DDC-3934-92E5-7106067740C0}"/>
          </ac:spMkLst>
        </pc:spChg>
        <pc:grpChg chg="add mod">
          <ac:chgData name="Yi Zhang" userId="d03fca4dc346cac8" providerId="LiveId" clId="{B70A919D-2232-4DEE-B2F9-2ABC0E9E80A7}" dt="2024-01-11T14:52:56.710" v="1715" actId="1076"/>
          <ac:grpSpMkLst>
            <pc:docMk/>
            <pc:sldMk cId="2203320774" sldId="351"/>
            <ac:grpSpMk id="3" creationId="{0EAD4E88-23D9-3379-4F93-0B468CE8AD97}"/>
          </ac:grpSpMkLst>
        </pc:grpChg>
        <pc:picChg chg="del">
          <ac:chgData name="Yi Zhang" userId="d03fca4dc346cac8" providerId="LiveId" clId="{B70A919D-2232-4DEE-B2F9-2ABC0E9E80A7}" dt="2024-01-11T14:43:48.292" v="1616" actId="478"/>
          <ac:picMkLst>
            <pc:docMk/>
            <pc:sldMk cId="2203320774" sldId="351"/>
            <ac:picMk id="2" creationId="{B84AB180-7D22-9803-DAC0-6B40384A0BA2}"/>
          </ac:picMkLst>
        </pc:picChg>
        <pc:picChg chg="add mod">
          <ac:chgData name="Yi Zhang" userId="d03fca4dc346cac8" providerId="LiveId" clId="{B70A919D-2232-4DEE-B2F9-2ABC0E9E80A7}" dt="2024-01-13T08:12:44.090" v="2782"/>
          <ac:picMkLst>
            <pc:docMk/>
            <pc:sldMk cId="2203320774" sldId="351"/>
            <ac:picMk id="2" creationId="{D2DF5156-8665-32B9-39CF-71926BAA0ED0}"/>
          </ac:picMkLst>
        </pc:picChg>
        <pc:picChg chg="mod">
          <ac:chgData name="Yi Zhang" userId="d03fca4dc346cac8" providerId="LiveId" clId="{B70A919D-2232-4DEE-B2F9-2ABC0E9E80A7}" dt="2024-01-11T14:43:52.824" v="1620"/>
          <ac:picMkLst>
            <pc:docMk/>
            <pc:sldMk cId="2203320774" sldId="351"/>
            <ac:picMk id="4" creationId="{F56CD45D-7AA4-E4AF-140B-733CFEE03B34}"/>
          </ac:picMkLst>
        </pc:picChg>
        <pc:picChg chg="del">
          <ac:chgData name="Yi Zhang" userId="d03fca4dc346cac8" providerId="LiveId" clId="{B70A919D-2232-4DEE-B2F9-2ABC0E9E80A7}" dt="2024-01-11T14:43:48.836" v="1617" actId="478"/>
          <ac:picMkLst>
            <pc:docMk/>
            <pc:sldMk cId="2203320774" sldId="351"/>
            <ac:picMk id="5" creationId="{31CFBE89-2CFF-E685-9979-45B85244B30E}"/>
          </ac:picMkLst>
        </pc:picChg>
      </pc:sldChg>
      <pc:sldChg chg="addSp delSp modSp add mod ord">
        <pc:chgData name="Yi Zhang" userId="d03fca4dc346cac8" providerId="LiveId" clId="{B70A919D-2232-4DEE-B2F9-2ABC0E9E80A7}" dt="2024-01-13T08:47:06.611" v="2814" actId="20577"/>
        <pc:sldMkLst>
          <pc:docMk/>
          <pc:sldMk cId="4016611417" sldId="352"/>
        </pc:sldMkLst>
        <pc:spChg chg="mod">
          <ac:chgData name="Yi Zhang" userId="d03fca4dc346cac8" providerId="LiveId" clId="{B70A919D-2232-4DEE-B2F9-2ABC0E9E80A7}" dt="2024-01-11T14:46:07.403" v="1651" actId="20577"/>
          <ac:spMkLst>
            <pc:docMk/>
            <pc:sldMk cId="4016611417" sldId="352"/>
            <ac:spMk id="8" creationId="{4991588C-6B17-8732-173F-43DE50AF9B2A}"/>
          </ac:spMkLst>
        </pc:spChg>
        <pc:spChg chg="del">
          <ac:chgData name="Yi Zhang" userId="d03fca4dc346cac8" providerId="LiveId" clId="{B70A919D-2232-4DEE-B2F9-2ABC0E9E80A7}" dt="2024-01-11T14:45:14.614" v="1627" actId="478"/>
          <ac:spMkLst>
            <pc:docMk/>
            <pc:sldMk cId="4016611417" sldId="352"/>
            <ac:spMk id="9" creationId="{FD53BF4A-714C-D68C-0E04-AA4553099D9C}"/>
          </ac:spMkLst>
        </pc:spChg>
        <pc:spChg chg="add mod">
          <ac:chgData name="Yi Zhang" userId="d03fca4dc346cac8" providerId="LiveId" clId="{B70A919D-2232-4DEE-B2F9-2ABC0E9E80A7}" dt="2024-01-13T08:47:06.611" v="2814" actId="20577"/>
          <ac:spMkLst>
            <pc:docMk/>
            <pc:sldMk cId="4016611417" sldId="352"/>
            <ac:spMk id="11" creationId="{C571AF6C-A45E-DFCB-372B-8F8A785843F6}"/>
          </ac:spMkLst>
        </pc:spChg>
        <pc:grpChg chg="del">
          <ac:chgData name="Yi Zhang" userId="d03fca4dc346cac8" providerId="LiveId" clId="{B70A919D-2232-4DEE-B2F9-2ABC0E9E80A7}" dt="2024-01-11T14:45:12.858" v="1626" actId="478"/>
          <ac:grpSpMkLst>
            <pc:docMk/>
            <pc:sldMk cId="4016611417" sldId="352"/>
            <ac:grpSpMk id="3" creationId="{0EAD4E88-23D9-3379-4F93-0B468CE8AD97}"/>
          </ac:grpSpMkLst>
        </pc:grpChg>
        <pc:picChg chg="add mod">
          <ac:chgData name="Yi Zhang" userId="d03fca4dc346cac8" providerId="LiveId" clId="{B70A919D-2232-4DEE-B2F9-2ABC0E9E80A7}" dt="2024-01-12T14:04:04.031" v="2386" actId="1076"/>
          <ac:picMkLst>
            <pc:docMk/>
            <pc:sldMk cId="4016611417" sldId="352"/>
            <ac:picMk id="2" creationId="{DF948E83-91AF-9182-6B8D-4CE1AAE4A374}"/>
          </ac:picMkLst>
        </pc:picChg>
        <pc:picChg chg="add mod">
          <ac:chgData name="Yi Zhang" userId="d03fca4dc346cac8" providerId="LiveId" clId="{B70A919D-2232-4DEE-B2F9-2ABC0E9E80A7}" dt="2024-01-13T08:12:41.671" v="2781"/>
          <ac:picMkLst>
            <pc:docMk/>
            <pc:sldMk cId="4016611417" sldId="352"/>
            <ac:picMk id="3" creationId="{F8CCF5C3-5835-01D7-0DE7-9E29AC18CEA8}"/>
          </ac:picMkLst>
        </pc:picChg>
        <pc:picChg chg="add mod">
          <ac:chgData name="Yi Zhang" userId="d03fca4dc346cac8" providerId="LiveId" clId="{B70A919D-2232-4DEE-B2F9-2ABC0E9E80A7}" dt="2024-01-11T14:46:27.324" v="1663" actId="1076"/>
          <ac:picMkLst>
            <pc:docMk/>
            <pc:sldMk cId="4016611417" sldId="352"/>
            <ac:picMk id="5" creationId="{CE69C905-531E-C5CE-A33E-BC9FD51A52E3}"/>
          </ac:picMkLst>
        </pc:picChg>
        <pc:picChg chg="add mod">
          <ac:chgData name="Yi Zhang" userId="d03fca4dc346cac8" providerId="LiveId" clId="{B70A919D-2232-4DEE-B2F9-2ABC0E9E80A7}" dt="2024-01-11T14:46:27.082" v="1662" actId="1076"/>
          <ac:picMkLst>
            <pc:docMk/>
            <pc:sldMk cId="4016611417" sldId="352"/>
            <ac:picMk id="7" creationId="{883CE04F-71D1-F3B5-75F8-2F8A3BD05CAB}"/>
          </ac:picMkLst>
        </pc:picChg>
        <pc:picChg chg="add mod">
          <ac:chgData name="Yi Zhang" userId="d03fca4dc346cac8" providerId="LiveId" clId="{B70A919D-2232-4DEE-B2F9-2ABC0E9E80A7}" dt="2024-01-11T14:46:33.525" v="1665" actId="1076"/>
          <ac:picMkLst>
            <pc:docMk/>
            <pc:sldMk cId="4016611417" sldId="352"/>
            <ac:picMk id="10" creationId="{47924148-665C-1B2B-CCA9-453B7A585D98}"/>
          </ac:picMkLst>
        </pc:picChg>
      </pc:sldChg>
      <pc:sldChg chg="add del">
        <pc:chgData name="Yi Zhang" userId="d03fca4dc346cac8" providerId="LiveId" clId="{B70A919D-2232-4DEE-B2F9-2ABC0E9E80A7}" dt="2024-01-11T14:43:50.537" v="1619"/>
        <pc:sldMkLst>
          <pc:docMk/>
          <pc:sldMk cId="4146228967" sldId="352"/>
        </pc:sldMkLst>
      </pc:sldChg>
      <pc:sldChg chg="addSp delSp modSp add mod modAnim">
        <pc:chgData name="Yi Zhang" userId="d03fca4dc346cac8" providerId="LiveId" clId="{B70A919D-2232-4DEE-B2F9-2ABC0E9E80A7}" dt="2024-01-13T09:18:16.747" v="3083"/>
        <pc:sldMkLst>
          <pc:docMk/>
          <pc:sldMk cId="3368211735" sldId="353"/>
        </pc:sldMkLst>
        <pc:spChg chg="add mod">
          <ac:chgData name="Yi Zhang" userId="d03fca4dc346cac8" providerId="LiveId" clId="{B70A919D-2232-4DEE-B2F9-2ABC0E9E80A7}" dt="2024-01-11T15:21:34.687" v="1828" actId="1076"/>
          <ac:spMkLst>
            <pc:docMk/>
            <pc:sldMk cId="3368211735" sldId="353"/>
            <ac:spMk id="4" creationId="{84961C5E-F6AA-FB5F-91A2-7C3476F7F2C7}"/>
          </ac:spMkLst>
        </pc:spChg>
        <pc:spChg chg="mod">
          <ac:chgData name="Yi Zhang" userId="d03fca4dc346cac8" providerId="LiveId" clId="{B70A919D-2232-4DEE-B2F9-2ABC0E9E80A7}" dt="2024-01-13T09:09:44.810" v="2964" actId="20577"/>
          <ac:spMkLst>
            <pc:docMk/>
            <pc:sldMk cId="3368211735" sldId="353"/>
            <ac:spMk id="8" creationId="{4991588C-6B17-8732-173F-43DE50AF9B2A}"/>
          </ac:spMkLst>
        </pc:spChg>
        <pc:spChg chg="add del mod">
          <ac:chgData name="Yi Zhang" userId="d03fca4dc346cac8" providerId="LiveId" clId="{B70A919D-2232-4DEE-B2F9-2ABC0E9E80A7}" dt="2024-01-13T09:09:54.568" v="2975" actId="1036"/>
          <ac:spMkLst>
            <pc:docMk/>
            <pc:sldMk cId="3368211735" sldId="353"/>
            <ac:spMk id="9" creationId="{FD53BF4A-714C-D68C-0E04-AA4553099D9C}"/>
          </ac:spMkLst>
        </pc:spChg>
        <pc:grpChg chg="add mod">
          <ac:chgData name="Yi Zhang" userId="d03fca4dc346cac8" providerId="LiveId" clId="{B70A919D-2232-4DEE-B2F9-2ABC0E9E80A7}" dt="2024-01-13T09:09:54.568" v="2975" actId="1036"/>
          <ac:grpSpMkLst>
            <pc:docMk/>
            <pc:sldMk cId="3368211735" sldId="353"/>
            <ac:grpSpMk id="2" creationId="{B9EF2C24-2805-F439-7627-A586ED7280AC}"/>
          </ac:grpSpMkLst>
        </pc:grpChg>
        <pc:grpChg chg="del">
          <ac:chgData name="Yi Zhang" userId="d03fca4dc346cac8" providerId="LiveId" clId="{B70A919D-2232-4DEE-B2F9-2ABC0E9E80A7}" dt="2024-01-11T14:53:02.871" v="1717" actId="478"/>
          <ac:grpSpMkLst>
            <pc:docMk/>
            <pc:sldMk cId="3368211735" sldId="353"/>
            <ac:grpSpMk id="3" creationId="{0EAD4E88-23D9-3379-4F93-0B468CE8AD97}"/>
          </ac:grpSpMkLst>
        </pc:grpChg>
        <pc:picChg chg="add mod">
          <ac:chgData name="Yi Zhang" userId="d03fca4dc346cac8" providerId="LiveId" clId="{B70A919D-2232-4DEE-B2F9-2ABC0E9E80A7}" dt="2024-01-13T08:12:45.648" v="2783"/>
          <ac:picMkLst>
            <pc:docMk/>
            <pc:sldMk cId="3368211735" sldId="353"/>
            <ac:picMk id="3" creationId="{492D418B-FE29-CA7B-2A56-2AA5D836E9E7}"/>
          </ac:picMkLst>
        </pc:picChg>
        <pc:picChg chg="mod">
          <ac:chgData name="Yi Zhang" userId="d03fca4dc346cac8" providerId="LiveId" clId="{B70A919D-2232-4DEE-B2F9-2ABC0E9E80A7}" dt="2024-01-11T14:53:03.229" v="1718"/>
          <ac:picMkLst>
            <pc:docMk/>
            <pc:sldMk cId="3368211735" sldId="353"/>
            <ac:picMk id="5" creationId="{D5EABF34-BF5B-D4A2-1DBB-1F4B9B20C378}"/>
          </ac:picMkLst>
        </pc:picChg>
        <pc:picChg chg="add mod">
          <ac:chgData name="Yi Zhang" userId="d03fca4dc346cac8" providerId="LiveId" clId="{B70A919D-2232-4DEE-B2F9-2ABC0E9E80A7}" dt="2024-01-13T09:09:58.057" v="2976" actId="1076"/>
          <ac:picMkLst>
            <pc:docMk/>
            <pc:sldMk cId="3368211735" sldId="353"/>
            <ac:picMk id="6" creationId="{9BE1AAD9-42AB-71D9-CE70-B3362D8124C8}"/>
          </ac:picMkLst>
        </pc:picChg>
        <pc:picChg chg="mod">
          <ac:chgData name="Yi Zhang" userId="d03fca4dc346cac8" providerId="LiveId" clId="{B70A919D-2232-4DEE-B2F9-2ABC0E9E80A7}" dt="2024-01-11T14:53:03.229" v="1718"/>
          <ac:picMkLst>
            <pc:docMk/>
            <pc:sldMk cId="3368211735" sldId="353"/>
            <ac:picMk id="7" creationId="{7FB11930-5F65-D83C-47D4-B0C8873B2519}"/>
          </ac:picMkLst>
        </pc:picChg>
        <pc:picChg chg="add mod">
          <ac:chgData name="Yi Zhang" userId="d03fca4dc346cac8" providerId="LiveId" clId="{B70A919D-2232-4DEE-B2F9-2ABC0E9E80A7}" dt="2024-01-13T09:09:54.568" v="2975" actId="1036"/>
          <ac:picMkLst>
            <pc:docMk/>
            <pc:sldMk cId="3368211735" sldId="353"/>
            <ac:picMk id="10" creationId="{4F505F64-4184-F8CB-366B-F081980A38CC}"/>
          </ac:picMkLst>
        </pc:picChg>
      </pc:sldChg>
      <pc:sldChg chg="addSp delSp modSp add mod">
        <pc:chgData name="Yi Zhang" userId="d03fca4dc346cac8" providerId="LiveId" clId="{B70A919D-2232-4DEE-B2F9-2ABC0E9E80A7}" dt="2024-01-13T08:12:51.287" v="2785"/>
        <pc:sldMkLst>
          <pc:docMk/>
          <pc:sldMk cId="2243236465" sldId="354"/>
        </pc:sldMkLst>
        <pc:spChg chg="del">
          <ac:chgData name="Yi Zhang" userId="d03fca4dc346cac8" providerId="LiveId" clId="{B70A919D-2232-4DEE-B2F9-2ABC0E9E80A7}" dt="2024-01-11T15:22:23.225" v="1831" actId="478"/>
          <ac:spMkLst>
            <pc:docMk/>
            <pc:sldMk cId="2243236465" sldId="354"/>
            <ac:spMk id="4" creationId="{84961C5E-F6AA-FB5F-91A2-7C3476F7F2C7}"/>
          </ac:spMkLst>
        </pc:spChg>
        <pc:spChg chg="del">
          <ac:chgData name="Yi Zhang" userId="d03fca4dc346cac8" providerId="LiveId" clId="{B70A919D-2232-4DEE-B2F9-2ABC0E9E80A7}" dt="2024-01-11T15:22:20.678" v="1830" actId="478"/>
          <ac:spMkLst>
            <pc:docMk/>
            <pc:sldMk cId="2243236465" sldId="354"/>
            <ac:spMk id="8" creationId="{4991588C-6B17-8732-173F-43DE50AF9B2A}"/>
          </ac:spMkLst>
        </pc:spChg>
        <pc:spChg chg="del">
          <ac:chgData name="Yi Zhang" userId="d03fca4dc346cac8" providerId="LiveId" clId="{B70A919D-2232-4DEE-B2F9-2ABC0E9E80A7}" dt="2024-01-11T15:22:23.225" v="1831" actId="478"/>
          <ac:spMkLst>
            <pc:docMk/>
            <pc:sldMk cId="2243236465" sldId="354"/>
            <ac:spMk id="9" creationId="{FD53BF4A-714C-D68C-0E04-AA4553099D9C}"/>
          </ac:spMkLst>
        </pc:spChg>
        <pc:spChg chg="mod">
          <ac:chgData name="Yi Zhang" userId="d03fca4dc346cac8" providerId="LiveId" clId="{B70A919D-2232-4DEE-B2F9-2ABC0E9E80A7}" dt="2024-01-11T15:22:27.191" v="1832" actId="207"/>
          <ac:spMkLst>
            <pc:docMk/>
            <pc:sldMk cId="2243236465" sldId="354"/>
            <ac:spMk id="17" creationId="{7A9F498D-E75F-ECB1-6B2F-0044E23257C4}"/>
          </ac:spMkLst>
        </pc:spChg>
        <pc:grpChg chg="del">
          <ac:chgData name="Yi Zhang" userId="d03fca4dc346cac8" providerId="LiveId" clId="{B70A919D-2232-4DEE-B2F9-2ABC0E9E80A7}" dt="2024-01-11T15:22:23.225" v="1831" actId="478"/>
          <ac:grpSpMkLst>
            <pc:docMk/>
            <pc:sldMk cId="2243236465" sldId="354"/>
            <ac:grpSpMk id="2" creationId="{B9EF2C24-2805-F439-7627-A586ED7280AC}"/>
          </ac:grpSpMkLst>
        </pc:grpChg>
        <pc:picChg chg="add mod">
          <ac:chgData name="Yi Zhang" userId="d03fca4dc346cac8" providerId="LiveId" clId="{B70A919D-2232-4DEE-B2F9-2ABC0E9E80A7}" dt="2024-01-13T08:12:51.287" v="2785"/>
          <ac:picMkLst>
            <pc:docMk/>
            <pc:sldMk cId="2243236465" sldId="354"/>
            <ac:picMk id="2" creationId="{CE792072-EE42-5EA1-FE9E-CF846A4FAA4A}"/>
          </ac:picMkLst>
        </pc:picChg>
        <pc:picChg chg="del">
          <ac:chgData name="Yi Zhang" userId="d03fca4dc346cac8" providerId="LiveId" clId="{B70A919D-2232-4DEE-B2F9-2ABC0E9E80A7}" dt="2024-01-11T15:22:23.225" v="1831" actId="478"/>
          <ac:picMkLst>
            <pc:docMk/>
            <pc:sldMk cId="2243236465" sldId="354"/>
            <ac:picMk id="6" creationId="{9BE1AAD9-42AB-71D9-CE70-B3362D8124C8}"/>
          </ac:picMkLst>
        </pc:picChg>
        <pc:picChg chg="del">
          <ac:chgData name="Yi Zhang" userId="d03fca4dc346cac8" providerId="LiveId" clId="{B70A919D-2232-4DEE-B2F9-2ABC0E9E80A7}" dt="2024-01-11T15:22:23.225" v="1831" actId="478"/>
          <ac:picMkLst>
            <pc:docMk/>
            <pc:sldMk cId="2243236465" sldId="354"/>
            <ac:picMk id="10" creationId="{4F505F64-4184-F8CB-366B-F081980A38CC}"/>
          </ac:picMkLst>
        </pc:picChg>
        <pc:picChg chg="add del mod">
          <ac:chgData name="Yi Zhang" userId="d03fca4dc346cac8" providerId="LiveId" clId="{B70A919D-2232-4DEE-B2F9-2ABC0E9E80A7}" dt="2024-01-11T15:23:07.436" v="1837" actId="478"/>
          <ac:picMkLst>
            <pc:docMk/>
            <pc:sldMk cId="2243236465" sldId="354"/>
            <ac:picMk id="11" creationId="{4F62F6FD-33E1-298B-790A-F2141EB6A3C7}"/>
          </ac:picMkLst>
        </pc:picChg>
        <pc:picChg chg="add mod">
          <ac:chgData name="Yi Zhang" userId="d03fca4dc346cac8" providerId="LiveId" clId="{B70A919D-2232-4DEE-B2F9-2ABC0E9E80A7}" dt="2024-01-11T15:26:19.704" v="1905" actId="14100"/>
          <ac:picMkLst>
            <pc:docMk/>
            <pc:sldMk cId="2243236465" sldId="354"/>
            <ac:picMk id="13" creationId="{A286F27D-B84C-A03D-2E54-E0685BAC7066}"/>
          </ac:picMkLst>
        </pc:picChg>
        <pc:picChg chg="add mod">
          <ac:chgData name="Yi Zhang" userId="d03fca4dc346cac8" providerId="LiveId" clId="{B70A919D-2232-4DEE-B2F9-2ABC0E9E80A7}" dt="2024-01-11T15:25:58.683" v="1900" actId="14100"/>
          <ac:picMkLst>
            <pc:docMk/>
            <pc:sldMk cId="2243236465" sldId="354"/>
            <ac:picMk id="15" creationId="{B42B7631-1F23-093D-D19C-12D70EE2FCD8}"/>
          </ac:picMkLst>
        </pc:picChg>
        <pc:picChg chg="add mod">
          <ac:chgData name="Yi Zhang" userId="d03fca4dc346cac8" providerId="LiveId" clId="{B70A919D-2232-4DEE-B2F9-2ABC0E9E80A7}" dt="2024-01-11T15:24:16.275" v="1874" actId="1076"/>
          <ac:picMkLst>
            <pc:docMk/>
            <pc:sldMk cId="2243236465" sldId="354"/>
            <ac:picMk id="16" creationId="{E1AAA8F5-8B83-1FE0-86F0-90D1F37B4304}"/>
          </ac:picMkLst>
        </pc:picChg>
      </pc:sldChg>
      <pc:sldChg chg="addSp delSp modSp add mod">
        <pc:chgData name="Yi Zhang" userId="d03fca4dc346cac8" providerId="LiveId" clId="{B70A919D-2232-4DEE-B2F9-2ABC0E9E80A7}" dt="2024-01-13T08:12:52.828" v="2786"/>
        <pc:sldMkLst>
          <pc:docMk/>
          <pc:sldMk cId="3656599474" sldId="355"/>
        </pc:sldMkLst>
        <pc:picChg chg="add mod">
          <ac:chgData name="Yi Zhang" userId="d03fca4dc346cac8" providerId="LiveId" clId="{B70A919D-2232-4DEE-B2F9-2ABC0E9E80A7}" dt="2024-01-13T08:12:52.828" v="2786"/>
          <ac:picMkLst>
            <pc:docMk/>
            <pc:sldMk cId="3656599474" sldId="355"/>
            <ac:picMk id="2" creationId="{3C599199-8096-E0BB-4C80-96A071F84D0D}"/>
          </ac:picMkLst>
        </pc:picChg>
        <pc:picChg chg="add mod">
          <ac:chgData name="Yi Zhang" userId="d03fca4dc346cac8" providerId="LiveId" clId="{B70A919D-2232-4DEE-B2F9-2ABC0E9E80A7}" dt="2024-01-11T15:26:09.004" v="1903" actId="1035"/>
          <ac:picMkLst>
            <pc:docMk/>
            <pc:sldMk cId="3656599474" sldId="355"/>
            <ac:picMk id="3" creationId="{0C78ED88-F057-32F4-9448-A9D1528AC0B7}"/>
          </ac:picMkLst>
        </pc:picChg>
        <pc:picChg chg="add mod">
          <ac:chgData name="Yi Zhang" userId="d03fca4dc346cac8" providerId="LiveId" clId="{B70A919D-2232-4DEE-B2F9-2ABC0E9E80A7}" dt="2024-01-11T15:26:09.004" v="1903" actId="1035"/>
          <ac:picMkLst>
            <pc:docMk/>
            <pc:sldMk cId="3656599474" sldId="355"/>
            <ac:picMk id="5" creationId="{414ECDA7-D185-0F73-2FA6-CCB2081074E9}"/>
          </ac:picMkLst>
        </pc:picChg>
        <pc:picChg chg="add mod">
          <ac:chgData name="Yi Zhang" userId="d03fca4dc346cac8" providerId="LiveId" clId="{B70A919D-2232-4DEE-B2F9-2ABC0E9E80A7}" dt="2024-01-11T15:26:09.004" v="1903" actId="1035"/>
          <ac:picMkLst>
            <pc:docMk/>
            <pc:sldMk cId="3656599474" sldId="355"/>
            <ac:picMk id="7" creationId="{A9E39308-77DF-F0B9-FC54-D1B172250757}"/>
          </ac:picMkLst>
        </pc:picChg>
        <pc:picChg chg="add mod">
          <ac:chgData name="Yi Zhang" userId="d03fca4dc346cac8" providerId="LiveId" clId="{B70A919D-2232-4DEE-B2F9-2ABC0E9E80A7}" dt="2024-01-11T15:26:26.040" v="1906" actId="1076"/>
          <ac:picMkLst>
            <pc:docMk/>
            <pc:sldMk cId="3656599474" sldId="355"/>
            <ac:picMk id="9" creationId="{1EBAC42C-DEFF-9271-C4C9-A00EA6D0D37A}"/>
          </ac:picMkLst>
        </pc:picChg>
        <pc:picChg chg="del">
          <ac:chgData name="Yi Zhang" userId="d03fca4dc346cac8" providerId="LiveId" clId="{B70A919D-2232-4DEE-B2F9-2ABC0E9E80A7}" dt="2024-01-11T15:24:21.942" v="1877" actId="478"/>
          <ac:picMkLst>
            <pc:docMk/>
            <pc:sldMk cId="3656599474" sldId="355"/>
            <ac:picMk id="13" creationId="{A286F27D-B84C-A03D-2E54-E0685BAC7066}"/>
          </ac:picMkLst>
        </pc:picChg>
        <pc:picChg chg="del">
          <ac:chgData name="Yi Zhang" userId="d03fca4dc346cac8" providerId="LiveId" clId="{B70A919D-2232-4DEE-B2F9-2ABC0E9E80A7}" dt="2024-01-11T15:24:21.439" v="1876" actId="478"/>
          <ac:picMkLst>
            <pc:docMk/>
            <pc:sldMk cId="3656599474" sldId="355"/>
            <ac:picMk id="15" creationId="{B42B7631-1F23-093D-D19C-12D70EE2FCD8}"/>
          </ac:picMkLst>
        </pc:picChg>
      </pc:sldChg>
      <pc:sldChg chg="addSp delSp modSp add mod modAnim">
        <pc:chgData name="Yi Zhang" userId="d03fca4dc346cac8" providerId="LiveId" clId="{B70A919D-2232-4DEE-B2F9-2ABC0E9E80A7}" dt="2024-01-13T09:21:40.664" v="3093"/>
        <pc:sldMkLst>
          <pc:docMk/>
          <pc:sldMk cId="3600755637" sldId="356"/>
        </pc:sldMkLst>
        <pc:spChg chg="add mod">
          <ac:chgData name="Yi Zhang" userId="d03fca4dc346cac8" providerId="LiveId" clId="{B70A919D-2232-4DEE-B2F9-2ABC0E9E80A7}" dt="2024-01-13T09:17:33.882" v="3082" actId="404"/>
          <ac:spMkLst>
            <pc:docMk/>
            <pc:sldMk cId="3600755637" sldId="356"/>
            <ac:spMk id="3" creationId="{1CBC5280-CEEC-14DF-4FB9-440DB5D90576}"/>
          </ac:spMkLst>
        </pc:spChg>
        <pc:spChg chg="mod">
          <ac:chgData name="Yi Zhang" userId="d03fca4dc346cac8" providerId="LiveId" clId="{B70A919D-2232-4DEE-B2F9-2ABC0E9E80A7}" dt="2024-01-11T15:27:53.301" v="1909" actId="1076"/>
          <ac:spMkLst>
            <pc:docMk/>
            <pc:sldMk cId="3600755637" sldId="356"/>
            <ac:spMk id="17" creationId="{7A9F498D-E75F-ECB1-6B2F-0044E23257C4}"/>
          </ac:spMkLst>
        </pc:spChg>
        <pc:picChg chg="add mod">
          <ac:chgData name="Yi Zhang" userId="d03fca4dc346cac8" providerId="LiveId" clId="{B70A919D-2232-4DEE-B2F9-2ABC0E9E80A7}" dt="2024-01-13T08:12:54.876" v="2787"/>
          <ac:picMkLst>
            <pc:docMk/>
            <pc:sldMk cId="3600755637" sldId="356"/>
            <ac:picMk id="2" creationId="{0F396D3B-23CD-D415-DF8A-B561B24C60E3}"/>
          </ac:picMkLst>
        </pc:picChg>
        <pc:picChg chg="del">
          <ac:chgData name="Yi Zhang" userId="d03fca4dc346cac8" providerId="LiveId" clId="{B70A919D-2232-4DEE-B2F9-2ABC0E9E80A7}" dt="2024-01-11T15:27:56.848" v="1910" actId="478"/>
          <ac:picMkLst>
            <pc:docMk/>
            <pc:sldMk cId="3600755637" sldId="356"/>
            <ac:picMk id="3" creationId="{0C78ED88-F057-32F4-9448-A9D1528AC0B7}"/>
          </ac:picMkLst>
        </pc:picChg>
        <pc:picChg chg="add mod">
          <ac:chgData name="Yi Zhang" userId="d03fca4dc346cac8" providerId="LiveId" clId="{B70A919D-2232-4DEE-B2F9-2ABC0E9E80A7}" dt="2024-01-13T09:15:17.957" v="3061" actId="1076"/>
          <ac:picMkLst>
            <pc:docMk/>
            <pc:sldMk cId="3600755637" sldId="356"/>
            <ac:picMk id="4" creationId="{5B12D8EE-F0A1-F83F-742D-D143DBF3243C}"/>
          </ac:picMkLst>
        </pc:picChg>
        <pc:picChg chg="del">
          <ac:chgData name="Yi Zhang" userId="d03fca4dc346cac8" providerId="LiveId" clId="{B70A919D-2232-4DEE-B2F9-2ABC0E9E80A7}" dt="2024-01-11T15:27:56.848" v="1910" actId="478"/>
          <ac:picMkLst>
            <pc:docMk/>
            <pc:sldMk cId="3600755637" sldId="356"/>
            <ac:picMk id="5" creationId="{414ECDA7-D185-0F73-2FA6-CCB2081074E9}"/>
          </ac:picMkLst>
        </pc:picChg>
        <pc:picChg chg="del">
          <ac:chgData name="Yi Zhang" userId="d03fca4dc346cac8" providerId="LiveId" clId="{B70A919D-2232-4DEE-B2F9-2ABC0E9E80A7}" dt="2024-01-11T15:27:56.848" v="1910" actId="478"/>
          <ac:picMkLst>
            <pc:docMk/>
            <pc:sldMk cId="3600755637" sldId="356"/>
            <ac:picMk id="7" creationId="{A9E39308-77DF-F0B9-FC54-D1B172250757}"/>
          </ac:picMkLst>
        </pc:picChg>
        <pc:picChg chg="del">
          <ac:chgData name="Yi Zhang" userId="d03fca4dc346cac8" providerId="LiveId" clId="{B70A919D-2232-4DEE-B2F9-2ABC0E9E80A7}" dt="2024-01-11T15:27:56.848" v="1910" actId="478"/>
          <ac:picMkLst>
            <pc:docMk/>
            <pc:sldMk cId="3600755637" sldId="356"/>
            <ac:picMk id="9" creationId="{1EBAC42C-DEFF-9271-C4C9-A00EA6D0D37A}"/>
          </ac:picMkLst>
        </pc:picChg>
        <pc:picChg chg="del">
          <ac:chgData name="Yi Zhang" userId="d03fca4dc346cac8" providerId="LiveId" clId="{B70A919D-2232-4DEE-B2F9-2ABC0E9E80A7}" dt="2024-01-11T15:27:56.848" v="1910" actId="478"/>
          <ac:picMkLst>
            <pc:docMk/>
            <pc:sldMk cId="3600755637" sldId="356"/>
            <ac:picMk id="16" creationId="{E1AAA8F5-8B83-1FE0-86F0-90D1F37B4304}"/>
          </ac:picMkLst>
        </pc:picChg>
      </pc:sldChg>
      <pc:sldChg chg="add del">
        <pc:chgData name="Yi Zhang" userId="d03fca4dc346cac8" providerId="LiveId" clId="{B70A919D-2232-4DEE-B2F9-2ABC0E9E80A7}" dt="2024-01-11T15:27:58.141" v="1912"/>
        <pc:sldMkLst>
          <pc:docMk/>
          <pc:sldMk cId="814745474" sldId="357"/>
        </pc:sldMkLst>
      </pc:sldChg>
      <pc:sldChg chg="addSp delSp modSp add del mod">
        <pc:chgData name="Yi Zhang" userId="d03fca4dc346cac8" providerId="LiveId" clId="{B70A919D-2232-4DEE-B2F9-2ABC0E9E80A7}" dt="2024-01-11T15:43:48.474" v="2143" actId="47"/>
        <pc:sldMkLst>
          <pc:docMk/>
          <pc:sldMk cId="1439234032" sldId="357"/>
        </pc:sldMkLst>
        <pc:spChg chg="del">
          <ac:chgData name="Yi Zhang" userId="d03fca4dc346cac8" providerId="LiveId" clId="{B70A919D-2232-4DEE-B2F9-2ABC0E9E80A7}" dt="2024-01-11T15:42:23.269" v="2115" actId="478"/>
          <ac:spMkLst>
            <pc:docMk/>
            <pc:sldMk cId="1439234032" sldId="357"/>
            <ac:spMk id="2" creationId="{E94AF82C-C6C3-D248-5818-A43BAC2FD220}"/>
          </ac:spMkLst>
        </pc:spChg>
        <pc:spChg chg="add del mod">
          <ac:chgData name="Yi Zhang" userId="d03fca4dc346cac8" providerId="LiveId" clId="{B70A919D-2232-4DEE-B2F9-2ABC0E9E80A7}" dt="2024-01-11T15:42:21.057" v="2114" actId="478"/>
          <ac:spMkLst>
            <pc:docMk/>
            <pc:sldMk cId="1439234032" sldId="357"/>
            <ac:spMk id="4" creationId="{4C4F33AC-378F-FAC0-8EE8-AC7956B15B5C}"/>
          </ac:spMkLst>
        </pc:spChg>
        <pc:spChg chg="del">
          <ac:chgData name="Yi Zhang" userId="d03fca4dc346cac8" providerId="LiveId" clId="{B70A919D-2232-4DEE-B2F9-2ABC0E9E80A7}" dt="2024-01-11T15:42:18.726" v="2113" actId="478"/>
          <ac:spMkLst>
            <pc:docMk/>
            <pc:sldMk cId="1439234032" sldId="357"/>
            <ac:spMk id="5" creationId="{BD8500E4-A1E6-434E-B2F0-C68F00678FDD}"/>
          </ac:spMkLst>
        </pc:spChg>
        <pc:spChg chg="add del mod">
          <ac:chgData name="Yi Zhang" userId="d03fca4dc346cac8" providerId="LiveId" clId="{B70A919D-2232-4DEE-B2F9-2ABC0E9E80A7}" dt="2024-01-11T15:43:22.675" v="2132" actId="21"/>
          <ac:spMkLst>
            <pc:docMk/>
            <pc:sldMk cId="1439234032" sldId="357"/>
            <ac:spMk id="8" creationId="{287CC45E-D2AD-C304-9DD5-317F7D96F2F9}"/>
          </ac:spMkLst>
        </pc:spChg>
      </pc:sldChg>
      <pc:sldChg chg="addSp delSp modSp add mod modAnim">
        <pc:chgData name="Yi Zhang" userId="d03fca4dc346cac8" providerId="LiveId" clId="{B70A919D-2232-4DEE-B2F9-2ABC0E9E80A7}" dt="2024-01-13T09:39:57.362" v="3125" actId="14100"/>
        <pc:sldMkLst>
          <pc:docMk/>
          <pc:sldMk cId="1520592567" sldId="357"/>
        </pc:sldMkLst>
        <pc:spChg chg="add mod">
          <ac:chgData name="Yi Zhang" userId="d03fca4dc346cac8" providerId="LiveId" clId="{B70A919D-2232-4DEE-B2F9-2ABC0E9E80A7}" dt="2024-01-13T09:00:06.905" v="2827" actId="14100"/>
          <ac:spMkLst>
            <pc:docMk/>
            <pc:sldMk cId="1520592567" sldId="357"/>
            <ac:spMk id="2" creationId="{E3DAF4F3-FE48-C809-7048-960F03A26777}"/>
          </ac:spMkLst>
        </pc:spChg>
        <pc:spChg chg="add mod">
          <ac:chgData name="Yi Zhang" userId="d03fca4dc346cac8" providerId="LiveId" clId="{B70A919D-2232-4DEE-B2F9-2ABC0E9E80A7}" dt="2024-01-13T09:14:00.146" v="3060" actId="1076"/>
          <ac:spMkLst>
            <pc:docMk/>
            <pc:sldMk cId="1520592567" sldId="357"/>
            <ac:spMk id="7" creationId="{51C7E62A-22C2-E94B-14BE-6DB9E125A5F4}"/>
          </ac:spMkLst>
        </pc:spChg>
        <pc:spChg chg="mod">
          <ac:chgData name="Yi Zhang" userId="d03fca4dc346cac8" providerId="LiveId" clId="{B70A919D-2232-4DEE-B2F9-2ABC0E9E80A7}" dt="2024-01-12T14:00:29.919" v="2360"/>
          <ac:spMkLst>
            <pc:docMk/>
            <pc:sldMk cId="1520592567" sldId="357"/>
            <ac:spMk id="11" creationId="{41242C34-8588-AFBB-5884-D995E41B5AEA}"/>
          </ac:spMkLst>
        </pc:spChg>
        <pc:spChg chg="add mod">
          <ac:chgData name="Yi Zhang" userId="d03fca4dc346cac8" providerId="LiveId" clId="{B70A919D-2232-4DEE-B2F9-2ABC0E9E80A7}" dt="2024-01-13T09:39:52.909" v="3124" actId="1035"/>
          <ac:spMkLst>
            <pc:docMk/>
            <pc:sldMk cId="1520592567" sldId="357"/>
            <ac:spMk id="12" creationId="{BC3925E4-9F46-FDCB-56DE-BD151F97C063}"/>
          </ac:spMkLst>
        </pc:spChg>
        <pc:spChg chg="add del mod">
          <ac:chgData name="Yi Zhang" userId="d03fca4dc346cac8" providerId="LiveId" clId="{B70A919D-2232-4DEE-B2F9-2ABC0E9E80A7}" dt="2024-01-12T14:20:04.947" v="2397" actId="478"/>
          <ac:spMkLst>
            <pc:docMk/>
            <pc:sldMk cId="1520592567" sldId="357"/>
            <ac:spMk id="12" creationId="{FDA8E940-99EA-FDC6-DCE1-1E037D6AE4BE}"/>
          </ac:spMkLst>
        </pc:spChg>
        <pc:spChg chg="add del mod">
          <ac:chgData name="Yi Zhang" userId="d03fca4dc346cac8" providerId="LiveId" clId="{B70A919D-2232-4DEE-B2F9-2ABC0E9E80A7}" dt="2024-01-13T09:13:16.695" v="3058" actId="478"/>
          <ac:spMkLst>
            <pc:docMk/>
            <pc:sldMk cId="1520592567" sldId="357"/>
            <ac:spMk id="13" creationId="{4141543D-7994-B5C3-30E0-4C83062D91E4}"/>
          </ac:spMkLst>
        </pc:spChg>
        <pc:spChg chg="add del mod">
          <ac:chgData name="Yi Zhang" userId="d03fca4dc346cac8" providerId="LiveId" clId="{B70A919D-2232-4DEE-B2F9-2ABC0E9E80A7}" dt="2024-01-12T14:20:17.424" v="2400" actId="478"/>
          <ac:spMkLst>
            <pc:docMk/>
            <pc:sldMk cId="1520592567" sldId="357"/>
            <ac:spMk id="13" creationId="{D2A290B5-0B8F-16E8-76A2-9B8D264FC0F9}"/>
          </ac:spMkLst>
        </pc:spChg>
        <pc:grpChg chg="add mod">
          <ac:chgData name="Yi Zhang" userId="d03fca4dc346cac8" providerId="LiveId" clId="{B70A919D-2232-4DEE-B2F9-2ABC0E9E80A7}" dt="2024-01-13T09:10:57.324" v="3012" actId="11530"/>
          <ac:grpSpMkLst>
            <pc:docMk/>
            <pc:sldMk cId="1520592567" sldId="357"/>
            <ac:grpSpMk id="9" creationId="{4731C3B9-FC49-5CA8-4246-D67D8420642E}"/>
          </ac:grpSpMkLst>
        </pc:grpChg>
        <pc:picChg chg="add mod">
          <ac:chgData name="Yi Zhang" userId="d03fca4dc346cac8" providerId="LiveId" clId="{B70A919D-2232-4DEE-B2F9-2ABC0E9E80A7}" dt="2024-01-13T09:11:18.643" v="3017" actId="1076"/>
          <ac:picMkLst>
            <pc:docMk/>
            <pc:sldMk cId="1520592567" sldId="357"/>
            <ac:picMk id="3" creationId="{A9B1525C-D96E-39B4-BDF3-94A049D96E5B}"/>
          </ac:picMkLst>
        </pc:picChg>
        <pc:picChg chg="add mod">
          <ac:chgData name="Yi Zhang" userId="d03fca4dc346cac8" providerId="LiveId" clId="{B70A919D-2232-4DEE-B2F9-2ABC0E9E80A7}" dt="2024-01-13T09:39:52.909" v="3124" actId="1035"/>
          <ac:picMkLst>
            <pc:docMk/>
            <pc:sldMk cId="1520592567" sldId="357"/>
            <ac:picMk id="4" creationId="{D3ABD939-5D10-629D-F5AE-586793ED935B}"/>
          </ac:picMkLst>
        </pc:picChg>
        <pc:picChg chg="add mod">
          <ac:chgData name="Yi Zhang" userId="d03fca4dc346cac8" providerId="LiveId" clId="{B70A919D-2232-4DEE-B2F9-2ABC0E9E80A7}" dt="2024-01-13T08:12:47.618" v="2784"/>
          <ac:picMkLst>
            <pc:docMk/>
            <pc:sldMk cId="1520592567" sldId="357"/>
            <ac:picMk id="5" creationId="{8A2AD4CD-AEDA-7C06-D065-7FE426DC8368}"/>
          </ac:picMkLst>
        </pc:picChg>
        <pc:picChg chg="add mod">
          <ac:chgData name="Yi Zhang" userId="d03fca4dc346cac8" providerId="LiveId" clId="{B70A919D-2232-4DEE-B2F9-2ABC0E9E80A7}" dt="2024-01-13T09:39:52.909" v="3124" actId="1035"/>
          <ac:picMkLst>
            <pc:docMk/>
            <pc:sldMk cId="1520592567" sldId="357"/>
            <ac:picMk id="6" creationId="{6AD62DEC-4D5A-4D8A-8E59-1230287F308D}"/>
          </ac:picMkLst>
        </pc:picChg>
        <pc:picChg chg="add mod">
          <ac:chgData name="Yi Zhang" userId="d03fca4dc346cac8" providerId="LiveId" clId="{B70A919D-2232-4DEE-B2F9-2ABC0E9E80A7}" dt="2024-01-13T09:39:57.362" v="3125" actId="14100"/>
          <ac:picMkLst>
            <pc:docMk/>
            <pc:sldMk cId="1520592567" sldId="357"/>
            <ac:picMk id="8" creationId="{1767B3FD-BB36-6BE0-D634-DCAB1C69BB81}"/>
          </ac:picMkLst>
        </pc:picChg>
        <pc:picChg chg="mod">
          <ac:chgData name="Yi Zhang" userId="d03fca4dc346cac8" providerId="LiveId" clId="{B70A919D-2232-4DEE-B2F9-2ABC0E9E80A7}" dt="2024-01-12T14:00:29.919" v="2360"/>
          <ac:picMkLst>
            <pc:docMk/>
            <pc:sldMk cId="1520592567" sldId="357"/>
            <ac:picMk id="10" creationId="{772D728E-B349-0692-E970-CE7267289CD1}"/>
          </ac:picMkLst>
        </pc:picChg>
        <pc:picChg chg="del">
          <ac:chgData name="Yi Zhang" userId="d03fca4dc346cac8" providerId="LiveId" clId="{B70A919D-2232-4DEE-B2F9-2ABC0E9E80A7}" dt="2024-01-12T12:22:12.159" v="2221" actId="478"/>
          <ac:picMkLst>
            <pc:docMk/>
            <pc:sldMk cId="1520592567" sldId="357"/>
            <ac:picMk id="13" creationId="{A286F27D-B84C-A03D-2E54-E0685BAC7066}"/>
          </ac:picMkLst>
        </pc:picChg>
        <pc:picChg chg="del">
          <ac:chgData name="Yi Zhang" userId="d03fca4dc346cac8" providerId="LiveId" clId="{B70A919D-2232-4DEE-B2F9-2ABC0E9E80A7}" dt="2024-01-12T12:22:13.114" v="2222" actId="478"/>
          <ac:picMkLst>
            <pc:docMk/>
            <pc:sldMk cId="1520592567" sldId="357"/>
            <ac:picMk id="15" creationId="{B42B7631-1F23-093D-D19C-12D70EE2FCD8}"/>
          </ac:picMkLst>
        </pc:picChg>
        <pc:picChg chg="mod">
          <ac:chgData name="Yi Zhang" userId="d03fca4dc346cac8" providerId="LiveId" clId="{B70A919D-2232-4DEE-B2F9-2ABC0E9E80A7}" dt="2024-01-13T09:00:13.706" v="2828" actId="1076"/>
          <ac:picMkLst>
            <pc:docMk/>
            <pc:sldMk cId="1520592567" sldId="357"/>
            <ac:picMk id="16" creationId="{E1AAA8F5-8B83-1FE0-86F0-90D1F37B4304}"/>
          </ac:picMkLst>
        </pc:picChg>
      </pc:sldChg>
      <pc:sldMasterChg chg="delSldLayout">
        <pc:chgData name="Yi Zhang" userId="d03fca4dc346cac8" providerId="LiveId" clId="{B70A919D-2232-4DEE-B2F9-2ABC0E9E80A7}" dt="2024-01-11T15:43:48.474" v="2143" actId="47"/>
        <pc:sldMasterMkLst>
          <pc:docMk/>
          <pc:sldMasterMk cId="2554134743" sldId="2147483807"/>
        </pc:sldMasterMkLst>
        <pc:sldLayoutChg chg="del">
          <pc:chgData name="Yi Zhang" userId="d03fca4dc346cac8" providerId="LiveId" clId="{B70A919D-2232-4DEE-B2F9-2ABC0E9E80A7}" dt="2024-01-11T15:43:48.474" v="2143" actId="47"/>
          <pc:sldLayoutMkLst>
            <pc:docMk/>
            <pc:sldMasterMk cId="2554134743" sldId="2147483807"/>
            <pc:sldLayoutMk cId="1668955967" sldId="2147483828"/>
          </pc:sldLayoutMkLst>
        </pc:sldLayoutChg>
      </pc:sldMasterChg>
    </pc:docChg>
  </pc:docChgLst>
  <pc:docChgLst>
    <pc:chgData name="Yi Zhang" userId="d03fca4dc346cac8" providerId="LiveId" clId="{F647207B-3130-4F20-99EB-6D87A74802EE}"/>
    <pc:docChg chg="undo custSel addSld delSld modSld">
      <pc:chgData name="Yi Zhang" userId="d03fca4dc346cac8" providerId="LiveId" clId="{F647207B-3130-4F20-99EB-6D87A74802EE}" dt="2024-01-11T08:00:40.128" v="1093" actId="14100"/>
      <pc:docMkLst>
        <pc:docMk/>
      </pc:docMkLst>
      <pc:sldChg chg="addSp delSp modSp mod">
        <pc:chgData name="Yi Zhang" userId="d03fca4dc346cac8" providerId="LiveId" clId="{F647207B-3130-4F20-99EB-6D87A74802EE}" dt="2024-01-11T06:45:41.140" v="333" actId="478"/>
        <pc:sldMkLst>
          <pc:docMk/>
          <pc:sldMk cId="3435046149" sldId="262"/>
        </pc:sldMkLst>
        <pc:spChg chg="add del mod">
          <ac:chgData name="Yi Zhang" userId="d03fca4dc346cac8" providerId="LiveId" clId="{F647207B-3130-4F20-99EB-6D87A74802EE}" dt="2024-01-11T06:31:25.247" v="39" actId="478"/>
          <ac:spMkLst>
            <pc:docMk/>
            <pc:sldMk cId="3435046149" sldId="262"/>
            <ac:spMk id="2" creationId="{0674B2CB-9DB1-3B8B-08FF-1A40119704BB}"/>
          </ac:spMkLst>
        </pc:spChg>
        <pc:spChg chg="del">
          <ac:chgData name="Yi Zhang" userId="d03fca4dc346cac8" providerId="LiveId" clId="{F647207B-3130-4F20-99EB-6D87A74802EE}" dt="2024-01-11T06:45:26.657" v="328" actId="478"/>
          <ac:spMkLst>
            <pc:docMk/>
            <pc:sldMk cId="3435046149" sldId="262"/>
            <ac:spMk id="3" creationId="{C15D54B3-C3C2-5F1D-3328-D4928F4C2144}"/>
          </ac:spMkLst>
        </pc:spChg>
        <pc:spChg chg="del mod">
          <ac:chgData name="Yi Zhang" userId="d03fca4dc346cac8" providerId="LiveId" clId="{F647207B-3130-4F20-99EB-6D87A74802EE}" dt="2024-01-11T06:31:08.194" v="30" actId="478"/>
          <ac:spMkLst>
            <pc:docMk/>
            <pc:sldMk cId="3435046149" sldId="262"/>
            <ac:spMk id="4" creationId="{975167BC-1318-460A-BE3F-83F3EBA9BE43}"/>
          </ac:spMkLst>
        </pc:spChg>
        <pc:spChg chg="add del mod">
          <ac:chgData name="Yi Zhang" userId="d03fca4dc346cac8" providerId="LiveId" clId="{F647207B-3130-4F20-99EB-6D87A74802EE}" dt="2024-01-11T06:29:54.198" v="3" actId="478"/>
          <ac:spMkLst>
            <pc:docMk/>
            <pc:sldMk cId="3435046149" sldId="262"/>
            <ac:spMk id="6" creationId="{4CDA24C7-ED59-8E31-141A-72B7EB06A389}"/>
          </ac:spMkLst>
        </pc:spChg>
        <pc:spChg chg="del mod">
          <ac:chgData name="Yi Zhang" userId="d03fca4dc346cac8" providerId="LiveId" clId="{F647207B-3130-4F20-99EB-6D87A74802EE}" dt="2024-01-11T06:29:52.143" v="2" actId="478"/>
          <ac:spMkLst>
            <pc:docMk/>
            <pc:sldMk cId="3435046149" sldId="262"/>
            <ac:spMk id="7" creationId="{DB2AB635-ABFD-4856-96A9-FE6F61B55E34}"/>
          </ac:spMkLst>
        </pc:spChg>
        <pc:spChg chg="add del">
          <ac:chgData name="Yi Zhang" userId="d03fca4dc346cac8" providerId="LiveId" clId="{F647207B-3130-4F20-99EB-6D87A74802EE}" dt="2024-01-11T06:34:34.380" v="93" actId="21"/>
          <ac:spMkLst>
            <pc:docMk/>
            <pc:sldMk cId="3435046149" sldId="262"/>
            <ac:spMk id="9" creationId="{6E010982-AD64-4ACD-8996-58CEDD8D33D6}"/>
          </ac:spMkLst>
        </pc:spChg>
        <pc:spChg chg="add del mod">
          <ac:chgData name="Yi Zhang" userId="d03fca4dc346cac8" providerId="LiveId" clId="{F647207B-3130-4F20-99EB-6D87A74802EE}" dt="2024-01-11T06:31:09.613" v="31" actId="478"/>
          <ac:spMkLst>
            <pc:docMk/>
            <pc:sldMk cId="3435046149" sldId="262"/>
            <ac:spMk id="10" creationId="{4CA0273E-623C-119A-1435-CAB607D46CB6}"/>
          </ac:spMkLst>
        </pc:spChg>
        <pc:spChg chg="add del">
          <ac:chgData name="Yi Zhang" userId="d03fca4dc346cac8" providerId="LiveId" clId="{F647207B-3130-4F20-99EB-6D87A74802EE}" dt="2024-01-11T06:31:26.890" v="41" actId="22"/>
          <ac:spMkLst>
            <pc:docMk/>
            <pc:sldMk cId="3435046149" sldId="262"/>
            <ac:spMk id="12" creationId="{BAB776B9-0C79-5FEE-2D8C-F8829216AB61}"/>
          </ac:spMkLst>
        </pc:spChg>
        <pc:spChg chg="add mod">
          <ac:chgData name="Yi Zhang" userId="d03fca4dc346cac8" providerId="LiveId" clId="{F647207B-3130-4F20-99EB-6D87A74802EE}" dt="2024-01-11T06:31:59.300" v="53" actId="113"/>
          <ac:spMkLst>
            <pc:docMk/>
            <pc:sldMk cId="3435046149" sldId="262"/>
            <ac:spMk id="14" creationId="{829B5D48-ABBC-2574-ECC4-2A6ACC21801E}"/>
          </ac:spMkLst>
        </pc:spChg>
        <pc:spChg chg="add del mod ord">
          <ac:chgData name="Yi Zhang" userId="d03fca4dc346cac8" providerId="LiveId" clId="{F647207B-3130-4F20-99EB-6D87A74802EE}" dt="2024-01-11T06:37:31.355" v="119" actId="478"/>
          <ac:spMkLst>
            <pc:docMk/>
            <pc:sldMk cId="3435046149" sldId="262"/>
            <ac:spMk id="25" creationId="{CDB7B2A5-952A-2025-C96F-536310881CF8}"/>
          </ac:spMkLst>
        </pc:spChg>
        <pc:spChg chg="mod">
          <ac:chgData name="Yi Zhang" userId="d03fca4dc346cac8" providerId="LiveId" clId="{F647207B-3130-4F20-99EB-6D87A74802EE}" dt="2024-01-11T06:43:07.694" v="266" actId="1076"/>
          <ac:spMkLst>
            <pc:docMk/>
            <pc:sldMk cId="3435046149" sldId="262"/>
            <ac:spMk id="36" creationId="{BAAC4BD8-29BA-4CD6-BEE4-D7C5597618D1}"/>
          </ac:spMkLst>
        </pc:spChg>
        <pc:spChg chg="add mod">
          <ac:chgData name="Yi Zhang" userId="d03fca4dc346cac8" providerId="LiveId" clId="{F647207B-3130-4F20-99EB-6D87A74802EE}" dt="2024-01-11T06:45:20.737" v="327" actId="115"/>
          <ac:spMkLst>
            <pc:docMk/>
            <pc:sldMk cId="3435046149" sldId="262"/>
            <ac:spMk id="39" creationId="{DDE4F595-AE6B-04CB-E1EA-1F4D6EABDA80}"/>
          </ac:spMkLst>
        </pc:spChg>
        <pc:spChg chg="add del mod">
          <ac:chgData name="Yi Zhang" userId="d03fca4dc346cac8" providerId="LiveId" clId="{F647207B-3130-4F20-99EB-6D87A74802EE}" dt="2024-01-11T06:45:41.140" v="333" actId="478"/>
          <ac:spMkLst>
            <pc:docMk/>
            <pc:sldMk cId="3435046149" sldId="262"/>
            <ac:spMk id="41" creationId="{0780C251-E98A-D403-1D44-C6B03DE5C262}"/>
          </ac:spMkLst>
        </pc:spChg>
        <pc:picChg chg="add del mod">
          <ac:chgData name="Yi Zhang" userId="d03fca4dc346cac8" providerId="LiveId" clId="{F647207B-3130-4F20-99EB-6D87A74802EE}" dt="2024-01-11T06:33:47.561" v="70" actId="931"/>
          <ac:picMkLst>
            <pc:docMk/>
            <pc:sldMk cId="3435046149" sldId="262"/>
            <ac:picMk id="16" creationId="{510D4B41-C262-9133-9823-662A83A40DC9}"/>
          </ac:picMkLst>
        </pc:picChg>
        <pc:picChg chg="add del mod">
          <ac:chgData name="Yi Zhang" userId="d03fca4dc346cac8" providerId="LiveId" clId="{F647207B-3130-4F20-99EB-6D87A74802EE}" dt="2024-01-11T06:33:55.757" v="75" actId="931"/>
          <ac:picMkLst>
            <pc:docMk/>
            <pc:sldMk cId="3435046149" sldId="262"/>
            <ac:picMk id="18" creationId="{1EA8D1F5-6102-C670-B035-9A68FCA14FDB}"/>
          </ac:picMkLst>
        </pc:picChg>
        <pc:picChg chg="add del mod">
          <ac:chgData name="Yi Zhang" userId="d03fca4dc346cac8" providerId="LiveId" clId="{F647207B-3130-4F20-99EB-6D87A74802EE}" dt="2024-01-11T06:34:09.293" v="80"/>
          <ac:picMkLst>
            <pc:docMk/>
            <pc:sldMk cId="3435046149" sldId="262"/>
            <ac:picMk id="20" creationId="{C8FC40FC-1680-9B3C-81AF-BEE5439E2A85}"/>
          </ac:picMkLst>
        </pc:picChg>
        <pc:picChg chg="add del mod">
          <ac:chgData name="Yi Zhang" userId="d03fca4dc346cac8" providerId="LiveId" clId="{F647207B-3130-4F20-99EB-6D87A74802EE}" dt="2024-01-11T06:34:23.420" v="85"/>
          <ac:picMkLst>
            <pc:docMk/>
            <pc:sldMk cId="3435046149" sldId="262"/>
            <ac:picMk id="22" creationId="{C740A5D9-0F83-A822-FAEE-D37869F89624}"/>
          </ac:picMkLst>
        </pc:picChg>
        <pc:picChg chg="add del mod">
          <ac:chgData name="Yi Zhang" userId="d03fca4dc346cac8" providerId="LiveId" clId="{F647207B-3130-4F20-99EB-6D87A74802EE}" dt="2024-01-11T06:34:29.463" v="90"/>
          <ac:picMkLst>
            <pc:docMk/>
            <pc:sldMk cId="3435046149" sldId="262"/>
            <ac:picMk id="24" creationId="{C2236330-CD44-1520-DDE4-9214F87B13FF}"/>
          </ac:picMkLst>
        </pc:picChg>
        <pc:picChg chg="add del mod">
          <ac:chgData name="Yi Zhang" userId="d03fca4dc346cac8" providerId="LiveId" clId="{F647207B-3130-4F20-99EB-6D87A74802EE}" dt="2024-01-11T06:34:54.458" v="102" actId="931"/>
          <ac:picMkLst>
            <pc:docMk/>
            <pc:sldMk cId="3435046149" sldId="262"/>
            <ac:picMk id="27" creationId="{2112FEBC-E6FD-8D8B-A626-09837F804DF7}"/>
          </ac:picMkLst>
        </pc:picChg>
        <pc:picChg chg="add del mod">
          <ac:chgData name="Yi Zhang" userId="d03fca4dc346cac8" providerId="LiveId" clId="{F647207B-3130-4F20-99EB-6D87A74802EE}" dt="2024-01-11T06:35:08.527" v="110" actId="931"/>
          <ac:picMkLst>
            <pc:docMk/>
            <pc:sldMk cId="3435046149" sldId="262"/>
            <ac:picMk id="29" creationId="{85C42B7E-E4FA-1199-D44E-61EF1B69B2B4}"/>
          </ac:picMkLst>
        </pc:picChg>
        <pc:picChg chg="add del mod">
          <ac:chgData name="Yi Zhang" userId="d03fca4dc346cac8" providerId="LiveId" clId="{F647207B-3130-4F20-99EB-6D87A74802EE}" dt="2024-01-11T06:37:08.231" v="113" actId="931"/>
          <ac:picMkLst>
            <pc:docMk/>
            <pc:sldMk cId="3435046149" sldId="262"/>
            <ac:picMk id="31" creationId="{53CCE584-FFDE-FDF1-BF7F-040501B55453}"/>
          </ac:picMkLst>
        </pc:picChg>
        <pc:picChg chg="add del mod">
          <ac:chgData name="Yi Zhang" userId="d03fca4dc346cac8" providerId="LiveId" clId="{F647207B-3130-4F20-99EB-6D87A74802EE}" dt="2024-01-11T06:37:55.250" v="125" actId="478"/>
          <ac:picMkLst>
            <pc:docMk/>
            <pc:sldMk cId="3435046149" sldId="262"/>
            <ac:picMk id="33" creationId="{325AA3FF-9A41-2480-3E53-BF83A23D9A38}"/>
          </ac:picMkLst>
        </pc:picChg>
        <pc:picChg chg="add mod">
          <ac:chgData name="Yi Zhang" userId="d03fca4dc346cac8" providerId="LiveId" clId="{F647207B-3130-4F20-99EB-6D87A74802EE}" dt="2024-01-11T06:45:35.276" v="332" actId="1076"/>
          <ac:picMkLst>
            <pc:docMk/>
            <pc:sldMk cId="3435046149" sldId="262"/>
            <ac:picMk id="35" creationId="{9C710B65-0CC0-1E20-2C4B-A875D9C12A4A}"/>
          </ac:picMkLst>
        </pc:picChg>
        <pc:picChg chg="add mod ord">
          <ac:chgData name="Yi Zhang" userId="d03fca4dc346cac8" providerId="LiveId" clId="{F647207B-3130-4F20-99EB-6D87A74802EE}" dt="2024-01-11T06:38:17.566" v="134" actId="167"/>
          <ac:picMkLst>
            <pc:docMk/>
            <pc:sldMk cId="3435046149" sldId="262"/>
            <ac:picMk id="38" creationId="{CE4AE5A7-9EAE-CB15-C93C-02F3F7BBEF68}"/>
          </ac:picMkLst>
        </pc:picChg>
      </pc:sldChg>
      <pc:sldChg chg="addSp delSp modSp mod">
        <pc:chgData name="Yi Zhang" userId="d03fca4dc346cac8" providerId="LiveId" clId="{F647207B-3130-4F20-99EB-6D87A74802EE}" dt="2024-01-11T07:02:54.513" v="701" actId="478"/>
        <pc:sldMkLst>
          <pc:docMk/>
          <pc:sldMk cId="2662654116" sldId="308"/>
        </pc:sldMkLst>
        <pc:spChg chg="add del mod">
          <ac:chgData name="Yi Zhang" userId="d03fca4dc346cac8" providerId="LiveId" clId="{F647207B-3130-4F20-99EB-6D87A74802EE}" dt="2024-01-11T07:02:34.051" v="676" actId="478"/>
          <ac:spMkLst>
            <pc:docMk/>
            <pc:sldMk cId="2662654116" sldId="308"/>
            <ac:spMk id="3" creationId="{F9980586-4AA9-945A-9E27-F141EB3CB17F}"/>
          </ac:spMkLst>
        </pc:spChg>
        <pc:spChg chg="del mod">
          <ac:chgData name="Yi Zhang" userId="d03fca4dc346cac8" providerId="LiveId" clId="{F647207B-3130-4F20-99EB-6D87A74802EE}" dt="2024-01-11T07:02:49.010" v="700" actId="478"/>
          <ac:spMkLst>
            <pc:docMk/>
            <pc:sldMk cId="2662654116" sldId="308"/>
            <ac:spMk id="6" creationId="{29CC6AA0-5BAD-4E1B-96ED-D8A414C8DE89}"/>
          </ac:spMkLst>
        </pc:spChg>
        <pc:spChg chg="add del mod">
          <ac:chgData name="Yi Zhang" userId="d03fca4dc346cac8" providerId="LiveId" clId="{F647207B-3130-4F20-99EB-6D87A74802EE}" dt="2024-01-11T07:02:54.513" v="701" actId="478"/>
          <ac:spMkLst>
            <pc:docMk/>
            <pc:sldMk cId="2662654116" sldId="308"/>
            <ac:spMk id="8" creationId="{EFA699F1-95D6-EFD4-269E-61B2A292C8D3}"/>
          </ac:spMkLst>
        </pc:spChg>
        <pc:spChg chg="del">
          <ac:chgData name="Yi Zhang" userId="d03fca4dc346cac8" providerId="LiveId" clId="{F647207B-3130-4F20-99EB-6D87A74802EE}" dt="2024-01-11T07:02:31.674" v="675" actId="478"/>
          <ac:spMkLst>
            <pc:docMk/>
            <pc:sldMk cId="2662654116" sldId="308"/>
            <ac:spMk id="16" creationId="{13998280-090E-486F-B341-AEA0C09CED50}"/>
          </ac:spMkLst>
        </pc:spChg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2330746229" sldId="327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4218868986" sldId="329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2927368495" sldId="330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2669812811" sldId="331"/>
        </pc:sldMkLst>
      </pc:sldChg>
      <pc:sldChg chg="addSp delSp modSp mod">
        <pc:chgData name="Yi Zhang" userId="d03fca4dc346cac8" providerId="LiveId" clId="{F647207B-3130-4F20-99EB-6D87A74802EE}" dt="2024-01-11T07:02:21.377" v="671" actId="478"/>
        <pc:sldMkLst>
          <pc:docMk/>
          <pc:sldMk cId="2198556805" sldId="332"/>
        </pc:sldMkLst>
        <pc:spChg chg="del">
          <ac:chgData name="Yi Zhang" userId="d03fca4dc346cac8" providerId="LiveId" clId="{F647207B-3130-4F20-99EB-6D87A74802EE}" dt="2024-01-11T07:02:14.363" v="670" actId="478"/>
          <ac:spMkLst>
            <pc:docMk/>
            <pc:sldMk cId="2198556805" sldId="332"/>
            <ac:spMk id="5" creationId="{25E4B8F2-9EEE-4904-8ADC-29F6D40E7EF7}"/>
          </ac:spMkLst>
        </pc:spChg>
        <pc:spChg chg="add del mod">
          <ac:chgData name="Yi Zhang" userId="d03fca4dc346cac8" providerId="LiveId" clId="{F647207B-3130-4F20-99EB-6D87A74802EE}" dt="2024-01-11T07:02:21.377" v="671" actId="478"/>
          <ac:spMkLst>
            <pc:docMk/>
            <pc:sldMk cId="2198556805" sldId="332"/>
            <ac:spMk id="17" creationId="{374D5387-1F67-9210-D7CE-98EB52FD5546}"/>
          </ac:spMkLst>
        </pc:spChg>
        <pc:picChg chg="add del mod">
          <ac:chgData name="Yi Zhang" userId="d03fca4dc346cac8" providerId="LiveId" clId="{F647207B-3130-4F20-99EB-6D87A74802EE}" dt="2024-01-11T06:37:19.038" v="118" actId="478"/>
          <ac:picMkLst>
            <pc:docMk/>
            <pc:sldMk cId="2198556805" sldId="332"/>
            <ac:picMk id="9" creationId="{7C63FF88-0C8D-2DF3-761A-1AC926A54D38}"/>
          </ac:picMkLst>
        </pc:picChg>
      </pc:sldChg>
      <pc:sldChg chg="delSp mod">
        <pc:chgData name="Yi Zhang" userId="d03fca4dc346cac8" providerId="LiveId" clId="{F647207B-3130-4F20-99EB-6D87A74802EE}" dt="2024-01-11T07:02:27.930" v="674" actId="478"/>
        <pc:sldMkLst>
          <pc:docMk/>
          <pc:sldMk cId="2202323181" sldId="333"/>
        </pc:sldMkLst>
        <pc:spChg chg="del">
          <ac:chgData name="Yi Zhang" userId="d03fca4dc346cac8" providerId="LiveId" clId="{F647207B-3130-4F20-99EB-6D87A74802EE}" dt="2024-01-11T07:02:27.930" v="674" actId="478"/>
          <ac:spMkLst>
            <pc:docMk/>
            <pc:sldMk cId="2202323181" sldId="333"/>
            <ac:spMk id="2" creationId="{E9789329-E4B0-D6BB-F949-54E56CA792CB}"/>
          </ac:spMkLst>
        </pc:spChg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843391225" sldId="334"/>
        </pc:sldMkLst>
      </pc:sldChg>
      <pc:sldChg chg="addSp delSp modSp mod">
        <pc:chgData name="Yi Zhang" userId="d03fca4dc346cac8" providerId="LiveId" clId="{F647207B-3130-4F20-99EB-6D87A74802EE}" dt="2024-01-11T07:02:24.770" v="673" actId="478"/>
        <pc:sldMkLst>
          <pc:docMk/>
          <pc:sldMk cId="2662386739" sldId="335"/>
        </pc:sldMkLst>
        <pc:spChg chg="add del mod">
          <ac:chgData name="Yi Zhang" userId="d03fca4dc346cac8" providerId="LiveId" clId="{F647207B-3130-4F20-99EB-6D87A74802EE}" dt="2024-01-11T07:02:24.770" v="673" actId="478"/>
          <ac:spMkLst>
            <pc:docMk/>
            <pc:sldMk cId="2662386739" sldId="335"/>
            <ac:spMk id="15" creationId="{5D8C7700-61C2-AFAE-E5EE-48AEAA332DCF}"/>
          </ac:spMkLst>
        </pc:spChg>
        <pc:spChg chg="del">
          <ac:chgData name="Yi Zhang" userId="d03fca4dc346cac8" providerId="LiveId" clId="{F647207B-3130-4F20-99EB-6D87A74802EE}" dt="2024-01-11T07:02:23.865" v="672" actId="478"/>
          <ac:spMkLst>
            <pc:docMk/>
            <pc:sldMk cId="2662386739" sldId="335"/>
            <ac:spMk id="25" creationId="{36C1F434-5473-43D1-85C1-FA0337EFE801}"/>
          </ac:spMkLst>
        </pc:spChg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1784144528" sldId="336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3624315003" sldId="337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964354158" sldId="338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1078839825" sldId="339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1498192663" sldId="340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2184413368" sldId="341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3361510289" sldId="342"/>
        </pc:sldMkLst>
      </pc:sldChg>
      <pc:sldChg chg="del">
        <pc:chgData name="Yi Zhang" userId="d03fca4dc346cac8" providerId="LiveId" clId="{F647207B-3130-4F20-99EB-6D87A74802EE}" dt="2024-01-11T07:02:04.541" v="669" actId="47"/>
        <pc:sldMkLst>
          <pc:docMk/>
          <pc:sldMk cId="1122118726" sldId="343"/>
        </pc:sldMkLst>
      </pc:sldChg>
      <pc:sldChg chg="addSp delSp modSp add mod modTransition">
        <pc:chgData name="Yi Zhang" userId="d03fca4dc346cac8" providerId="LiveId" clId="{F647207B-3130-4F20-99EB-6D87A74802EE}" dt="2024-01-11T07:03:24.675" v="738" actId="1076"/>
        <pc:sldMkLst>
          <pc:docMk/>
          <pc:sldMk cId="2590423184" sldId="344"/>
        </pc:sldMkLst>
        <pc:spChg chg="add mod">
          <ac:chgData name="Yi Zhang" userId="d03fca4dc346cac8" providerId="LiveId" clId="{F647207B-3130-4F20-99EB-6D87A74802EE}" dt="2024-01-11T07:03:24.675" v="738" actId="1076"/>
          <ac:spMkLst>
            <pc:docMk/>
            <pc:sldMk cId="2590423184" sldId="344"/>
            <ac:spMk id="3" creationId="{C993E1FF-A499-A618-F003-BD523BB43E2A}"/>
          </ac:spMkLst>
        </pc:spChg>
        <pc:spChg chg="del">
          <ac:chgData name="Yi Zhang" userId="d03fca4dc346cac8" providerId="LiveId" clId="{F647207B-3130-4F20-99EB-6D87A74802EE}" dt="2024-01-11T06:47:08.985" v="336" actId="478"/>
          <ac:spMkLst>
            <pc:docMk/>
            <pc:sldMk cId="2590423184" sldId="344"/>
            <ac:spMk id="39" creationId="{DDE4F595-AE6B-04CB-E1EA-1F4D6EABDA80}"/>
          </ac:spMkLst>
        </pc:spChg>
        <pc:picChg chg="mod">
          <ac:chgData name="Yi Zhang" userId="d03fca4dc346cac8" providerId="LiveId" clId="{F647207B-3130-4F20-99EB-6D87A74802EE}" dt="2024-01-11T06:47:38.420" v="345" actId="1076"/>
          <ac:picMkLst>
            <pc:docMk/>
            <pc:sldMk cId="2590423184" sldId="344"/>
            <ac:picMk id="35" creationId="{9C710B65-0CC0-1E20-2C4B-A875D9C12A4A}"/>
          </ac:picMkLst>
        </pc:picChg>
        <pc:picChg chg="mod">
          <ac:chgData name="Yi Zhang" userId="d03fca4dc346cac8" providerId="LiveId" clId="{F647207B-3130-4F20-99EB-6D87A74802EE}" dt="2024-01-11T07:01:37.917" v="668" actId="1036"/>
          <ac:picMkLst>
            <pc:docMk/>
            <pc:sldMk cId="2590423184" sldId="344"/>
            <ac:picMk id="38" creationId="{CE4AE5A7-9EAE-CB15-C93C-02F3F7BBEF68}"/>
          </ac:picMkLst>
        </pc:picChg>
      </pc:sldChg>
      <pc:sldChg chg="add del">
        <pc:chgData name="Yi Zhang" userId="d03fca4dc346cac8" providerId="LiveId" clId="{F647207B-3130-4F20-99EB-6D87A74802EE}" dt="2024-01-11T06:47:02.900" v="334" actId="47"/>
        <pc:sldMkLst>
          <pc:docMk/>
          <pc:sldMk cId="3827129452" sldId="344"/>
        </pc:sldMkLst>
      </pc:sldChg>
      <pc:sldChg chg="addSp delSp modSp add mod modTransition modAnim">
        <pc:chgData name="Yi Zhang" userId="d03fca4dc346cac8" providerId="LiveId" clId="{F647207B-3130-4F20-99EB-6D87A74802EE}" dt="2024-01-11T08:00:40.128" v="1093" actId="14100"/>
        <pc:sldMkLst>
          <pc:docMk/>
          <pc:sldMk cId="3410885507" sldId="345"/>
        </pc:sldMkLst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2" creationId="{62069F3E-1D94-1CF3-F967-9DEFB38F4A61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3" creationId="{B8566EDA-3F11-43C7-A079-E867EA31B4DF}"/>
          </ac:spMkLst>
        </pc:spChg>
        <pc:spChg chg="add del mod">
          <ac:chgData name="Yi Zhang" userId="d03fca4dc346cac8" providerId="LiveId" clId="{F647207B-3130-4F20-99EB-6D87A74802EE}" dt="2024-01-11T07:09:16.096" v="741" actId="478"/>
          <ac:spMkLst>
            <pc:docMk/>
            <pc:sldMk cId="3410885507" sldId="345"/>
            <ac:spMk id="4" creationId="{11B938F6-CBA1-BB7B-E7F9-77B593176933}"/>
          </ac:spMkLst>
        </pc:spChg>
        <pc:spChg chg="add mod">
          <ac:chgData name="Yi Zhang" userId="d03fca4dc346cac8" providerId="LiveId" clId="{F647207B-3130-4F20-99EB-6D87A74802EE}" dt="2024-01-11T07:19:05.788" v="753" actId="207"/>
          <ac:spMkLst>
            <pc:docMk/>
            <pc:sldMk cId="3410885507" sldId="345"/>
            <ac:spMk id="5" creationId="{5C91977A-2560-2C20-9E81-51770729B4EE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6" creationId="{7BEBEA52-6633-43D7-8780-89104C4A5955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7" creationId="{7A67CB66-3C88-41F8-A8D2-6D381E72619F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10" creationId="{33ACE2A3-9DAD-7281-AA9A-C1E3C832E39A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12" creationId="{8D4F871D-EAC0-F950-8388-BA2554C15DD1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13" creationId="{FA751E08-F2ED-629C-F0EB-4B0D26B06D94}"/>
          </ac:spMkLst>
        </pc:spChg>
        <pc:spChg chg="del">
          <ac:chgData name="Yi Zhang" userId="d03fca4dc346cac8" providerId="LiveId" clId="{F647207B-3130-4F20-99EB-6D87A74802EE}" dt="2024-01-11T07:09:14.819" v="740" actId="478"/>
          <ac:spMkLst>
            <pc:docMk/>
            <pc:sldMk cId="3410885507" sldId="345"/>
            <ac:spMk id="14" creationId="{351B8084-A4F6-86FB-0C8F-070BD4191415}"/>
          </ac:spMkLst>
        </pc:spChg>
        <pc:spChg chg="add mod">
          <ac:chgData name="Yi Zhang" userId="d03fca4dc346cac8" providerId="LiveId" clId="{F647207B-3130-4F20-99EB-6D87A74802EE}" dt="2024-01-11T08:00:40.128" v="1093" actId="14100"/>
          <ac:spMkLst>
            <pc:docMk/>
            <pc:sldMk cId="3410885507" sldId="345"/>
            <ac:spMk id="24" creationId="{094426F6-AB5A-DF8B-10F9-AFEE0B243A79}"/>
          </ac:spMkLst>
        </pc:spChg>
        <pc:picChg chg="del">
          <ac:chgData name="Yi Zhang" userId="d03fca4dc346cac8" providerId="LiveId" clId="{F647207B-3130-4F20-99EB-6D87A74802EE}" dt="2024-01-11T07:09:14.819" v="740" actId="478"/>
          <ac:picMkLst>
            <pc:docMk/>
            <pc:sldMk cId="3410885507" sldId="345"/>
            <ac:picMk id="8" creationId="{EE41332C-C56A-EFE8-52C1-C03166546B96}"/>
          </ac:picMkLst>
        </pc:picChg>
        <pc:picChg chg="del">
          <ac:chgData name="Yi Zhang" userId="d03fca4dc346cac8" providerId="LiveId" clId="{F647207B-3130-4F20-99EB-6D87A74802EE}" dt="2024-01-11T07:09:14.819" v="740" actId="478"/>
          <ac:picMkLst>
            <pc:docMk/>
            <pc:sldMk cId="3410885507" sldId="345"/>
            <ac:picMk id="11" creationId="{CE30FA43-FD82-3DF7-3058-8C3F77AAAEDD}"/>
          </ac:picMkLst>
        </pc:picChg>
        <pc:picChg chg="add mod">
          <ac:chgData name="Yi Zhang" userId="d03fca4dc346cac8" providerId="LiveId" clId="{F647207B-3130-4F20-99EB-6D87A74802EE}" dt="2024-01-11T07:20:43.037" v="773" actId="1076"/>
          <ac:picMkLst>
            <pc:docMk/>
            <pc:sldMk cId="3410885507" sldId="345"/>
            <ac:picMk id="15" creationId="{8B768118-0672-C357-5FF3-830C0D2D05C6}"/>
          </ac:picMkLst>
        </pc:picChg>
        <pc:picChg chg="del">
          <ac:chgData name="Yi Zhang" userId="d03fca4dc346cac8" providerId="LiveId" clId="{F647207B-3130-4F20-99EB-6D87A74802EE}" dt="2024-01-11T07:09:14.819" v="740" actId="478"/>
          <ac:picMkLst>
            <pc:docMk/>
            <pc:sldMk cId="3410885507" sldId="345"/>
            <ac:picMk id="16" creationId="{BCAF6577-9228-CF4D-443D-5AAA9B45922A}"/>
          </ac:picMkLst>
        </pc:picChg>
        <pc:picChg chg="add mod">
          <ac:chgData name="Yi Zhang" userId="d03fca4dc346cac8" providerId="LiveId" clId="{F647207B-3130-4F20-99EB-6D87A74802EE}" dt="2024-01-11T07:20:44.438" v="774" actId="1076"/>
          <ac:picMkLst>
            <pc:docMk/>
            <pc:sldMk cId="3410885507" sldId="345"/>
            <ac:picMk id="18" creationId="{298DE48A-AB83-4B9D-6DC6-B1BBF3237807}"/>
          </ac:picMkLst>
        </pc:picChg>
        <pc:picChg chg="add mod">
          <ac:chgData name="Yi Zhang" userId="d03fca4dc346cac8" providerId="LiveId" clId="{F647207B-3130-4F20-99EB-6D87A74802EE}" dt="2024-01-11T07:20:45.557" v="775" actId="1076"/>
          <ac:picMkLst>
            <pc:docMk/>
            <pc:sldMk cId="3410885507" sldId="345"/>
            <ac:picMk id="20" creationId="{BE03A8A2-3D7F-93FC-E6B1-05CE6463F4BD}"/>
          </ac:picMkLst>
        </pc:picChg>
        <pc:picChg chg="del">
          <ac:chgData name="Yi Zhang" userId="d03fca4dc346cac8" providerId="LiveId" clId="{F647207B-3130-4F20-99EB-6D87A74802EE}" dt="2024-01-11T07:09:14.819" v="740" actId="478"/>
          <ac:picMkLst>
            <pc:docMk/>
            <pc:sldMk cId="3410885507" sldId="345"/>
            <ac:picMk id="1026" creationId="{86E03592-89CA-32AE-612D-9341A202FAAD}"/>
          </ac:picMkLst>
        </pc:picChg>
        <pc:cxnChg chg="add mod">
          <ac:chgData name="Yi Zhang" userId="d03fca4dc346cac8" providerId="LiveId" clId="{F647207B-3130-4F20-99EB-6D87A74802EE}" dt="2024-01-11T07:54:29.592" v="784" actId="1076"/>
          <ac:cxnSpMkLst>
            <pc:docMk/>
            <pc:sldMk cId="3410885507" sldId="345"/>
            <ac:cxnSpMk id="22" creationId="{5EBDFC23-B9F3-1BB6-5040-6E472B598E4D}"/>
          </ac:cxnSpMkLst>
        </pc:cxn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35928AB-FB45-41B6-B767-6E1FCD9592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226F71-6231-44FB-B6F9-3F3800C94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8B7CBE-E149-4CA6-8DBA-76B57A442203}" type="datetimeFigureOut">
              <a:rPr lang="en-GB" smtClean="0"/>
              <a:t>11/03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18812E-8804-4DAE-A81E-98036292B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876627-61FB-497E-81F6-FC5F7D1B835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187E6D-93D8-415D-8B98-2E560EE5735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939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4E3886-3137-47BF-B7DE-DCD7F2C76CAE}" type="datetimeFigureOut">
              <a:rPr lang="zh-CN" altLang="en-US" smtClean="0"/>
              <a:t>2024/3/11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933A54-DA41-4821-B3DB-A2B1DDCE47C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0014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54E53-313D-4B34-B457-3412936D82A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3775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2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8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y with image ful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 hidden="1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635139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CEF461F2-334B-4D87-9361-B4F258A81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C63A99B-3FCD-4E31-95D1-0308A40AEC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5999"/>
            <a:ext cx="5435250" cy="93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77383" y="2340000"/>
            <a:ext cx="4713867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000" y="2340000"/>
            <a:ext cx="523721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2503447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5999"/>
            <a:ext cx="5435250" cy="93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DC800AB-925C-4CD2-A6D0-E9C9C94350F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77383" y="2340000"/>
            <a:ext cx="4713867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83D95C4E-2403-4C4A-B950-A75CEE7426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000" y="2340000"/>
            <a:ext cx="523721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7500460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5999"/>
            <a:ext cx="5435250" cy="93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DC3E7D-97E3-4186-81C7-4D47C85227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77383" y="2340000"/>
            <a:ext cx="4713867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29A2CA2-260F-4499-AB52-83C1800D89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000" y="2340000"/>
            <a:ext cx="523721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855959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EF122DDC-436D-44BD-ABE8-A81BFAA2BB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587DDDD-DBF8-4307-9F46-3189076B1E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5601" y="3092148"/>
            <a:ext cx="487800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26B359A-ACE1-438C-842E-0AD778A5BC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657451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10D13338-7A0D-4E27-99F4-69371CEAA9D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C8685BA-749B-4E69-9ED0-2B395E8AE1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5601" y="3092148"/>
            <a:ext cx="487800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FC4176D-6512-4994-8E8D-2D32A25655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5864195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6FFF49AF-CFF7-45A6-A77D-9E9CDDAC35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DCDC7C8E-A2EE-4B12-9D11-4A9C62FEFDD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5601" y="3092148"/>
            <a:ext cx="487800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52A28D3-3B72-4C61-8367-D3BF0CF8FF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1A27E718-AB76-41A3-AB05-76B47C2E60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34804148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F5BD0-C32D-4D2D-9F81-F5B4B6D0A7F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2000" cy="3744000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9142D8-193F-40E9-8C80-82EDE94E3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52662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C3E122A-64FC-4F53-9E99-15779721305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74B3C8F-0FED-4CE7-A3D4-D90345FDE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84653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C2A2BD9-4896-4077-8A03-F1BC1549C1F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756000" y="2124000"/>
            <a:ext cx="11052000" cy="37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B5F5D1-E0E3-4553-B4F0-C61396F09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49087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ex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iagram&#10;&#10;Description automatically generated">
            <a:extLst>
              <a:ext uri="{FF2B5EF4-FFF2-40B4-BE49-F238E27FC236}">
                <a16:creationId xmlns:a16="http://schemas.microsoft.com/office/drawing/2014/main" id="{AA31BCD5-CAAA-457F-9534-5633E74396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483997"/>
            <a:ext cx="6552000" cy="2952002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1" y="1745998"/>
            <a:ext cx="6552000" cy="612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3F8E550B-D778-4DB0-ACA0-0DDD2369C7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49494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full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647A47E9-E4CE-4041-BDB7-9258D844F7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09206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ex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CC44ADC-BFC4-4029-934E-DC8285CFD3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483997"/>
            <a:ext cx="655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1" y="1745998"/>
            <a:ext cx="6552000" cy="612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99960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and tex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ity at night&#10;&#10;Description automatically generated with low confidence">
            <a:extLst>
              <a:ext uri="{FF2B5EF4-FFF2-40B4-BE49-F238E27FC236}">
                <a16:creationId xmlns:a16="http://schemas.microsoft.com/office/drawing/2014/main" id="{BF075708-F184-4DC4-B642-21F2259447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483997"/>
            <a:ext cx="6552000" cy="2952002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1" y="1745998"/>
            <a:ext cx="6552000" cy="612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881011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Grey picture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CE5D35A-252D-4E52-B59E-887EA3B8059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5601" y="3092148"/>
            <a:ext cx="487800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725E1A9-F5F3-4DFB-833B-43237D6CDA9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 anchor="b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841382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Black pictur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8595740-23EA-4A7F-99CE-69F6FD2505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617597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44EEF054-662C-4787-A87A-4951A0016B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5601" y="3092148"/>
            <a:ext cx="487800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EDA23A-69F6-474A-A6FD-A25F98AF77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084EE5F-6C4B-413E-B0DD-8A2CBA80FD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9779234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r Chapter dark-grey picture right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1782213A-5203-4F9B-A874-7C6B03F260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9647F2CA-4D89-4F30-8416-98E6006056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45601" y="3092148"/>
            <a:ext cx="487800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EA9EAC9-CBFD-4B5C-8FE6-28D45CE9FA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45601" y="2010778"/>
            <a:ext cx="4878000" cy="972000"/>
          </a:xfrm>
        </p:spPr>
        <p:txBody>
          <a:bodyPr anchor="b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9F4DE129-7BC9-481F-8B33-0063CF0D95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507102"/>
            <a:ext cx="489952" cy="426900"/>
          </a:xfrm>
        </p:spPr>
        <p:txBody>
          <a:bodyPr tIns="108000"/>
          <a:lstStyle>
            <a:lvl1pPr marL="0" indent="0">
              <a:lnSpc>
                <a:spcPct val="100000"/>
              </a:lnSpc>
              <a:buFontTx/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9814594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275DD-39D4-49C7-B182-5AF91A2CF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-1228444"/>
            <a:ext cx="9430363" cy="972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E49C5B-FE5A-4277-80CC-25C5F96B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F24DF-111D-44C2-926E-B659679B0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2518" y="7020000"/>
            <a:ext cx="4237202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731B8-CF9D-4087-969A-B258FB1F0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52ADCF85-A655-441D-AD86-719152B5498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308000" cy="6858000"/>
          </a:xfrm>
          <a:noFill/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85423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275DD-39D4-49C7-B182-5AF91A2CF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-1228444"/>
            <a:ext cx="9430363" cy="972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E49C5B-FE5A-4277-80CC-25C5F96B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F24DF-111D-44C2-926E-B659679B0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2518" y="7020000"/>
            <a:ext cx="4237202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731B8-CF9D-4087-969A-B258FB1F0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52ADCF85-A655-441D-AD86-719152B5498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308000" cy="6858000"/>
          </a:xfrm>
          <a:noFill/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B450F60-1EAC-4785-AEBF-F69AB77BA5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82236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275DD-39D4-49C7-B182-5AF91A2CF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-1228444"/>
            <a:ext cx="9430363" cy="972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E49C5B-FE5A-4277-80CC-25C5F96B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F24DF-111D-44C2-926E-B659679B0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2518" y="7020000"/>
            <a:ext cx="4237202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731B8-CF9D-4087-969A-B258FB1F0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52ADCF85-A655-441D-AD86-719152B5498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7308000" cy="6858000"/>
          </a:xfrm>
          <a:noFill/>
        </p:spPr>
        <p:txBody>
          <a:bodyPr tIns="108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8F9B459-5A83-4693-9CA8-7F0882C07A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497666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subtitle text and image left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483997"/>
            <a:ext cx="6552002" cy="1638003"/>
          </a:xfrm>
        </p:spPr>
        <p:txBody>
          <a:bodyPr/>
          <a:lstStyle>
            <a:lvl1pPr>
              <a:spcBef>
                <a:spcPts val="2000"/>
              </a:spcBef>
              <a:defRPr/>
            </a:lvl1pPr>
            <a:lvl4pPr>
              <a:spcBef>
                <a:spcPts val="2000"/>
              </a:spcBef>
              <a:defRPr/>
            </a:lvl4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1" y="1745998"/>
            <a:ext cx="6552000" cy="612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CCACCA1A-E406-444E-AF90-ECBD73C9E3E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4338000"/>
            <a:ext cx="7308002" cy="2520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517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and image left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483997"/>
            <a:ext cx="6552000" cy="1638003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1" y="1745998"/>
            <a:ext cx="6552000" cy="612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52B32C5-E5E4-4170-BFBA-A92D47771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4338000"/>
            <a:ext cx="7308002" cy="2520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2222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full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11DF5169-9597-4A23-B708-B34F7AD7FA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731858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ubtitle text and image lef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5A529-C2C2-480A-BC34-25F45978E6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56001" y="2483996"/>
            <a:ext cx="6552000" cy="1638003"/>
          </a:xfrm>
        </p:spPr>
        <p:txBody>
          <a:bodyPr/>
          <a:lstStyle>
            <a:lvl1pPr>
              <a:spcBef>
                <a:spcPts val="2000"/>
              </a:spcBef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spcBef>
                <a:spcPts val="2000"/>
              </a:spcBef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8213F7D-7E1E-45AD-9776-952BBB540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1" y="1745998"/>
            <a:ext cx="6552000" cy="612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755999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1E363ADC-969E-44FB-8CAC-B3FA512AF6E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4338000"/>
            <a:ext cx="7308002" cy="2520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13727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peziod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275DD-39D4-49C7-B182-5AF91A2CF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-1228444"/>
            <a:ext cx="9430363" cy="972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E49C5B-FE5A-4277-80CC-25C5F96B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F24DF-111D-44C2-926E-B659679B0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2518" y="7020000"/>
            <a:ext cx="4237202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731B8-CF9D-4087-969A-B258FB1F0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492A76A6-660E-4020-934B-AE36CC191DC2}"/>
              </a:ext>
            </a:extLst>
          </p:cNvPr>
          <p:cNvSpPr/>
          <p:nvPr userDrawn="1"/>
        </p:nvSpPr>
        <p:spPr>
          <a:xfrm rot="5400000">
            <a:off x="2049545" y="459000"/>
            <a:ext cx="3312000" cy="5886000"/>
          </a:xfrm>
          <a:prstGeom prst="trapezoid">
            <a:avLst>
              <a:gd name="adj" fmla="val 8665"/>
            </a:avLst>
          </a:prstGeom>
          <a:solidFill>
            <a:schemeClr val="bg1"/>
          </a:solidFill>
          <a:ln>
            <a:noFill/>
          </a:ln>
          <a:effectLst>
            <a:outerShdw blurRad="508000" dist="11557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88866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peziod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275DD-39D4-49C7-B182-5AF91A2CF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-1228444"/>
            <a:ext cx="9430363" cy="972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E49C5B-FE5A-4277-80CC-25C5F96B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F24DF-111D-44C2-926E-B659679B0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2518" y="7020000"/>
            <a:ext cx="4237202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731B8-CF9D-4087-969A-B258FB1F0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EB450F60-1EAC-4785-AEBF-F69AB77BA5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372C8598-E7D8-4BBC-9F17-9D08987A86A0}"/>
              </a:ext>
            </a:extLst>
          </p:cNvPr>
          <p:cNvSpPr/>
          <p:nvPr userDrawn="1"/>
        </p:nvSpPr>
        <p:spPr>
          <a:xfrm rot="5400000">
            <a:off x="2049545" y="459000"/>
            <a:ext cx="3312000" cy="5886000"/>
          </a:xfrm>
          <a:prstGeom prst="trapezoid">
            <a:avLst>
              <a:gd name="adj" fmla="val 8665"/>
            </a:avLst>
          </a:prstGeom>
          <a:solidFill>
            <a:schemeClr val="accent5"/>
          </a:solidFill>
          <a:ln>
            <a:noFill/>
          </a:ln>
          <a:effectLst>
            <a:outerShdw blurRad="508000" dist="11557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17271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peziod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4275DD-39D4-49C7-B182-5AF91A2CF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-1228444"/>
            <a:ext cx="9430363" cy="972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E49C5B-FE5A-4277-80CC-25C5F96B4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0F24DF-111D-44C2-926E-B659679B0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72518" y="7020000"/>
            <a:ext cx="4237202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2731B8-CF9D-4087-969A-B258FB1F0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C8F9B459-5A83-4693-9CA8-7F0882C07AF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389278E7-4835-444F-BCB0-3F563347AA78}"/>
              </a:ext>
            </a:extLst>
          </p:cNvPr>
          <p:cNvSpPr/>
          <p:nvPr userDrawn="1"/>
        </p:nvSpPr>
        <p:spPr>
          <a:xfrm rot="5400000">
            <a:off x="2049545" y="459000"/>
            <a:ext cx="3312000" cy="5886000"/>
          </a:xfrm>
          <a:prstGeom prst="trapezoid">
            <a:avLst>
              <a:gd name="adj" fmla="val 8665"/>
            </a:avLst>
          </a:prstGeom>
          <a:solidFill>
            <a:schemeClr val="accent5"/>
          </a:solidFill>
          <a:ln>
            <a:noFill/>
          </a:ln>
          <a:effectLst>
            <a:outerShdw blurRad="508000" dist="1155700" dir="8100000" algn="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39938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hart, scatter chart&#10;&#10;Description automatically generated">
            <a:extLst>
              <a:ext uri="{FF2B5EF4-FFF2-40B4-BE49-F238E27FC236}">
                <a16:creationId xmlns:a16="http://schemas.microsoft.com/office/drawing/2014/main" id="{62BE9F50-B6D4-4A43-AEC2-FE21FFFD5F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-1228444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09114261-83E6-4941-9818-2CE1A1C0F5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89714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652B32C5-E5E4-4170-BFBA-A92D477714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-1228444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554532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full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8BC7AC3E-A0BB-4C77-BD5C-7FB80FE2A0D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F29215A-A3AF-4036-AB1D-81A1281D4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1" y="-1228444"/>
            <a:ext cx="655200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rgbClr val="F0F0F0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1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930138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hite with vide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telslide-Wit-02">
            <a:hlinkClick r:id="" action="ppaction://media"/>
            <a:extLst>
              <a:ext uri="{FF2B5EF4-FFF2-40B4-BE49-F238E27FC236}">
                <a16:creationId xmlns:a16="http://schemas.microsoft.com/office/drawing/2014/main" id="{FFBF3DB2-0B3D-4132-A1BE-10C56652377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Faculty	/ Department </a:t>
            </a:r>
            <a:br>
              <a:rPr lang="en-GB" dirty="0"/>
            </a:br>
            <a:r>
              <a:rPr lang="en-GB" dirty="0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Tekstvak 9">
            <a:extLst>
              <a:ext uri="{FF2B5EF4-FFF2-40B4-BE49-F238E27FC236}">
                <a16:creationId xmlns:a16="http://schemas.microsoft.com/office/drawing/2014/main" id="{F3746769-51BF-431D-839F-838A730E5E17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3193091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Black with video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TitelSlide-Zwart-02">
            <a:hlinkClick r:id="" action="ppaction://media"/>
            <a:extLst>
              <a:ext uri="{FF2B5EF4-FFF2-40B4-BE49-F238E27FC236}">
                <a16:creationId xmlns:a16="http://schemas.microsoft.com/office/drawing/2014/main" id="{D448B6D3-D60B-4A55-8C71-B4DF77F849E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E7654BB1-9854-475A-A7D8-5376F0C257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0E03D01-8A3A-4B1E-814B-BDE053F093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Faculty	/ Department </a:t>
            </a:r>
            <a:br>
              <a:rPr lang="en-GB" dirty="0"/>
            </a:br>
            <a:r>
              <a:rPr lang="en-GB" dirty="0"/>
              <a:t>Mail address</a:t>
            </a:r>
          </a:p>
        </p:txBody>
      </p:sp>
      <p:sp>
        <p:nvSpPr>
          <p:cNvPr id="9" name="Tekstvak 9">
            <a:extLst>
              <a:ext uri="{FF2B5EF4-FFF2-40B4-BE49-F238E27FC236}">
                <a16:creationId xmlns:a16="http://schemas.microsoft.com/office/drawing/2014/main" id="{728DD36F-1DAD-419D-8E1D-42C26D1E9DAF}"/>
              </a:ext>
            </a:extLst>
          </p:cNvPr>
          <p:cNvSpPr txBox="1"/>
          <p:nvPr userDrawn="1"/>
        </p:nvSpPr>
        <p:spPr>
          <a:xfrm>
            <a:off x="762545" y="-450332"/>
            <a:ext cx="1375698" cy="369332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cap="all" baseline="0" dirty="0"/>
              <a:t>Video slide</a:t>
            </a:r>
          </a:p>
        </p:txBody>
      </p:sp>
    </p:spTree>
    <p:extLst>
      <p:ext uri="{BB962C8B-B14F-4D97-AF65-F5344CB8AC3E}">
        <p14:creationId xmlns:p14="http://schemas.microsoft.com/office/powerpoint/2010/main" val="11056939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56F11914-7D84-428E-B835-BAB5CBA5FA3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/>
            </a:lvl1pPr>
          </a:lstStyle>
          <a:p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Faculty	/ Department </a:t>
            </a:r>
            <a:br>
              <a:rPr lang="en-GB" dirty="0"/>
            </a:br>
            <a:r>
              <a:rPr lang="en-GB" dirty="0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75303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y with image righ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288987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een light in the dark&#10;&#10;Description automatically generated with low confidence">
            <a:extLst>
              <a:ext uri="{FF2B5EF4-FFF2-40B4-BE49-F238E27FC236}">
                <a16:creationId xmlns:a16="http://schemas.microsoft.com/office/drawing/2014/main" id="{E750BC38-70BC-42C2-A398-2638744C88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Faculty	/ Department </a:t>
            </a:r>
            <a:br>
              <a:rPr lang="en-GB" dirty="0"/>
            </a:br>
            <a:r>
              <a:rPr lang="en-GB" dirty="0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366520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info with picture full dark-gre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7D38C6EA-69C8-4A8F-BD51-33C203719D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3132000"/>
            <a:ext cx="5435250" cy="972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6000" y="5616000"/>
            <a:ext cx="5435250" cy="864000"/>
          </a:xfrm>
        </p:spPr>
        <p:txBody>
          <a:bodyPr anchor="b"/>
          <a:lstStyle>
            <a:lvl1pPr marL="0" indent="0" algn="l">
              <a:lnSpc>
                <a:spcPts val="2400"/>
              </a:lnSpc>
              <a:buNone/>
              <a:defRPr sz="1800" b="0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Presenter name</a:t>
            </a:r>
            <a:br>
              <a:rPr lang="en-GB" dirty="0"/>
            </a:br>
            <a:r>
              <a:rPr lang="en-GB" dirty="0"/>
              <a:t>Faculty	/ Department </a:t>
            </a:r>
            <a:br>
              <a:rPr lang="en-GB" dirty="0"/>
            </a:br>
            <a:r>
              <a:rPr lang="en-GB" dirty="0"/>
              <a:t>Mail addr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0448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with image righ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728071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 right dark-grey">
    <p:bg>
      <p:bgPr>
        <a:solidFill>
          <a:srgbClr val="1E23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378000" y="0"/>
            <a:ext cx="5814000" cy="6858000"/>
          </a:xfrm>
          <a:noFill/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170557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8B30C1-42C0-49A8-9A72-1CDA9DE3E5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7308000" cy="6858000"/>
          </a:xfrm>
          <a:solidFill>
            <a:schemeClr val="accent5"/>
          </a:solidFill>
        </p:spPr>
        <p:txBody>
          <a:bodyPr tIns="72000"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2088000"/>
            <a:ext cx="5435250" cy="1116000"/>
          </a:xfrm>
        </p:spPr>
        <p:txBody>
          <a:bodyPr anchor="t"/>
          <a:lstStyle>
            <a:lvl1pPr algn="l">
              <a:lnSpc>
                <a:spcPts val="4800"/>
              </a:lnSpc>
              <a:defRPr sz="45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53C3D9-7BAD-4D34-93C8-0BBD791270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6000" y="3923998"/>
            <a:ext cx="5435250" cy="1548000"/>
          </a:xfrm>
        </p:spPr>
        <p:txBody>
          <a:bodyPr/>
          <a:lstStyle>
            <a:lvl1pPr marL="0" indent="0" algn="l">
              <a:lnSpc>
                <a:spcPts val="2500"/>
              </a:lnSpc>
              <a:buNone/>
              <a:defRPr sz="2200" b="1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9B465-2A50-47B3-8A31-6CA484194FB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6000" y="755999"/>
            <a:ext cx="3564000" cy="144000"/>
          </a:xfrm>
        </p:spPr>
        <p:txBody>
          <a:bodyPr wrap="square"/>
          <a:lstStyle>
            <a:lvl1pPr marL="0" indent="0" algn="l">
              <a:lnSpc>
                <a:spcPts val="1000"/>
              </a:lnSpc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Faculty / </a:t>
            </a:r>
            <a:r>
              <a:rPr lang="en-GB" dirty="0" err="1"/>
              <a:t>Departement</a:t>
            </a:r>
            <a:r>
              <a:rPr lang="en-GB" dirty="0"/>
              <a:t> nam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81E1DEF-2B94-4C73-8D26-52C70E65D6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46562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s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CEF461F2-334B-4D87-9361-B4F258A81B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A40098-905F-4E29-B84C-4EE5C5FA62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DB134-A740-47D9-9359-CFD0405A8817}" type="datetimeFigureOut">
              <a:rPr lang="en-GB" smtClean="0"/>
              <a:t>11/03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3856D2-F2C7-4A79-9527-2A90E51FE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7D2DA5-11C3-4269-915A-7510F2892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2545" y="7020000"/>
            <a:ext cx="511175" cy="180000"/>
          </a:xfrm>
        </p:spPr>
        <p:txBody>
          <a:bodyPr/>
          <a:lstStyle>
            <a:lvl1pPr algn="r">
              <a:defRPr>
                <a:solidFill>
                  <a:srgbClr val="F0F0F0"/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8C63A99B-3FCD-4E31-95D1-0308A40AEC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942365" y="756000"/>
            <a:ext cx="871637" cy="306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A1D534-BFC6-4C15-927F-317BADF96C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6000" y="755999"/>
            <a:ext cx="5435250" cy="936000"/>
          </a:xfrm>
        </p:spPr>
        <p:txBody>
          <a:bodyPr anchor="t"/>
          <a:lstStyle>
            <a:lvl1pPr algn="l">
              <a:lnSpc>
                <a:spcPts val="39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A76F85B-DDA2-45F5-B69F-D4602ACFEA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77383" y="2340000"/>
            <a:ext cx="4713867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416AF036-6112-4361-9813-A1037B4996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6000" y="2340000"/>
            <a:ext cx="523721" cy="3204000"/>
          </a:xfrm>
        </p:spPr>
        <p:txBody>
          <a:bodyPr/>
          <a:lstStyle>
            <a:lvl1pPr marL="0" indent="0">
              <a:lnSpc>
                <a:spcPts val="2500"/>
              </a:lnSpc>
              <a:buFontTx/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01.</a:t>
            </a:r>
          </a:p>
        </p:txBody>
      </p:sp>
    </p:spTree>
    <p:extLst>
      <p:ext uri="{BB962C8B-B14F-4D97-AF65-F5344CB8AC3E}">
        <p14:creationId xmlns:p14="http://schemas.microsoft.com/office/powerpoint/2010/main" val="3176533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>
          <a:xfrm>
            <a:off x="10096501" y="6440488"/>
            <a:ext cx="1248833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Ramy Rashad | Port-Hamiltonian Control on SE(3) for Aerial Interaction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C2DB0D-BDB1-4B4C-9C22-0B2900A37EFB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ijdelijke aanduiding voor tekst 13"/>
          <p:cNvSpPr>
            <a:spLocks noGrp="1"/>
          </p:cNvSpPr>
          <p:nvPr>
            <p:ph type="body" sz="quarter" idx="13" hasCustomPrompt="1"/>
          </p:nvPr>
        </p:nvSpPr>
        <p:spPr>
          <a:xfrm>
            <a:off x="1443869" y="500043"/>
            <a:ext cx="10367171" cy="732985"/>
          </a:xfrm>
        </p:spPr>
        <p:txBody>
          <a:bodyPr lIns="0" tIns="0" rIns="0" bIns="0" anchor="b" anchorCtr="0"/>
          <a:lstStyle>
            <a:lvl1pPr marL="0" indent="0">
              <a:buNone/>
              <a:defRPr sz="2600" b="1" cap="all" baseline="0">
                <a:latin typeface="+mj-lt"/>
              </a:defRPr>
            </a:lvl1pPr>
          </a:lstStyle>
          <a:p>
            <a:pPr lvl="0"/>
            <a:r>
              <a:rPr lang="en-US" noProof="0" dirty="0"/>
              <a:t>Click here and type the title</a:t>
            </a:r>
          </a:p>
        </p:txBody>
      </p:sp>
      <p:sp>
        <p:nvSpPr>
          <p:cNvPr id="14" name="Tijdelijke aanduiding voor tekst 15"/>
          <p:cNvSpPr>
            <a:spLocks noGrp="1"/>
          </p:cNvSpPr>
          <p:nvPr>
            <p:ph type="body" sz="quarter" idx="14" hasCustomPrompt="1"/>
          </p:nvPr>
        </p:nvSpPr>
        <p:spPr>
          <a:xfrm>
            <a:off x="1443850" y="1226814"/>
            <a:ext cx="10367191" cy="285750"/>
          </a:xfrm>
        </p:spPr>
        <p:txBody>
          <a:bodyPr lIns="0" tIns="0" rIns="0" bIns="0" anchor="b" anchorCtr="0"/>
          <a:lstStyle>
            <a:lvl1pPr>
              <a:buFontTx/>
              <a:buNone/>
              <a:defRPr cap="all" baseline="0">
                <a:latin typeface="+mj-lt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 dirty="0"/>
              <a:t>Click here and type the subtitle</a:t>
            </a:r>
          </a:p>
        </p:txBody>
      </p:sp>
      <p:pic>
        <p:nvPicPr>
          <p:cNvPr id="15" name="Afbeelding 14" descr="UT powerpoint sheet small 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854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821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3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134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30" r:id="rId2"/>
    <p:sldLayoutId id="2147483770" r:id="rId3"/>
    <p:sldLayoutId id="2147483666" r:id="rId4"/>
    <p:sldLayoutId id="2147483733" r:id="rId5"/>
    <p:sldLayoutId id="2147483773" r:id="rId6"/>
    <p:sldLayoutId id="2147483669" r:id="rId7"/>
    <p:sldLayoutId id="2147483826" r:id="rId8"/>
    <p:sldLayoutId id="2147483827" r:id="rId9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ubtitle</a:t>
            </a:r>
          </a:p>
          <a:p>
            <a:pPr lvl="7"/>
            <a:r>
              <a:rPr lang="en-GB" baseline="0" dirty="0"/>
              <a:t>Standard paragraph</a:t>
            </a:r>
          </a:p>
          <a:p>
            <a:pPr lvl="8"/>
            <a:r>
              <a:rPr lang="en-GB" baseline="0" dirty="0"/>
              <a:t>Standard paragraph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2029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815" r:id="rId2"/>
    <p:sldLayoutId id="2147483816" r:id="rId3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ubtitle</a:t>
            </a:r>
          </a:p>
          <a:p>
            <a:pPr lvl="7"/>
            <a:r>
              <a:rPr lang="en-GB" baseline="0" dirty="0"/>
              <a:t>Standard paragraph</a:t>
            </a:r>
          </a:p>
          <a:p>
            <a:pPr lvl="8"/>
            <a:r>
              <a:rPr lang="en-GB" baseline="0" dirty="0"/>
              <a:t>Standard paragraph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1032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40" r:id="rId2"/>
    <p:sldLayoutId id="2147483780" r:id="rId3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ubtitle</a:t>
            </a:r>
          </a:p>
          <a:p>
            <a:pPr lvl="7"/>
            <a:r>
              <a:rPr lang="en-GB" baseline="0" dirty="0"/>
              <a:t>Standard paragraph</a:t>
            </a:r>
          </a:p>
          <a:p>
            <a:pPr lvl="8"/>
            <a:r>
              <a:rPr lang="en-GB" baseline="0" dirty="0"/>
              <a:t>Standard paragraph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9179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818" r:id="rId2"/>
    <p:sldLayoutId id="2147483821" r:id="rId3"/>
    <p:sldLayoutId id="2147483715" r:id="rId4"/>
    <p:sldLayoutId id="2147483817" r:id="rId5"/>
    <p:sldLayoutId id="2147483820" r:id="rId6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ubtitle</a:t>
            </a:r>
          </a:p>
          <a:p>
            <a:pPr lvl="7"/>
            <a:r>
              <a:rPr lang="en-GB" baseline="0" dirty="0"/>
              <a:t>Standard paragraph</a:t>
            </a:r>
          </a:p>
          <a:p>
            <a:pPr lvl="8"/>
            <a:r>
              <a:rPr lang="en-GB" baseline="0" dirty="0"/>
              <a:t>Standard paragraph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621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3" r:id="rId2"/>
    <p:sldLayoutId id="2147483819" r:id="rId3"/>
    <p:sldLayoutId id="2147483716" r:id="rId4"/>
    <p:sldLayoutId id="2147483749" r:id="rId5"/>
    <p:sldLayoutId id="2147483822" r:id="rId6"/>
    <p:sldLayoutId id="2147483722" r:id="rId7"/>
    <p:sldLayoutId id="2147483758" r:id="rId8"/>
    <p:sldLayoutId id="2147483824" r:id="rId9"/>
    <p:sldLayoutId id="2147483719" r:id="rId10"/>
    <p:sldLayoutId id="2147483755" r:id="rId11"/>
    <p:sldLayoutId id="2147483823" r:id="rId12"/>
    <p:sldLayoutId id="2147483725" r:id="rId13"/>
    <p:sldLayoutId id="2147483761" r:id="rId14"/>
    <p:sldLayoutId id="2147483825" r:id="rId15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ubtitle</a:t>
            </a:r>
          </a:p>
          <a:p>
            <a:pPr lvl="7"/>
            <a:r>
              <a:rPr lang="en-GB" baseline="0" dirty="0"/>
              <a:t>Standard paragraph</a:t>
            </a:r>
          </a:p>
          <a:p>
            <a:pPr lvl="8"/>
            <a:r>
              <a:rPr lang="en-GB" baseline="0" dirty="0"/>
              <a:t>Standard paragraph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488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64" r:id="rId2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M" hidden="1">
            <a:extLst>
              <a:ext uri="{FF2B5EF4-FFF2-40B4-BE49-F238E27FC236}">
                <a16:creationId xmlns:a16="http://schemas.microsoft.com/office/drawing/2014/main" id="{7A134EDE-8DAC-478E-8F3F-B1E52EB0CFD3}"/>
              </a:ext>
            </a:extLst>
          </p:cNvPr>
          <p:cNvSpPr/>
          <p:nvPr userDrawn="1"/>
        </p:nvSpPr>
        <p:spPr>
          <a:xfrm>
            <a:off x="0" y="-1"/>
            <a:ext cx="12192000" cy="75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OM onder" hidden="1">
            <a:extLst>
              <a:ext uri="{FF2B5EF4-FFF2-40B4-BE49-F238E27FC236}">
                <a16:creationId xmlns:a16="http://schemas.microsoft.com/office/drawing/2014/main" id="{37E4E175-E941-41E7-BFB9-D6C8007AFE84}"/>
              </a:ext>
            </a:extLst>
          </p:cNvPr>
          <p:cNvSpPr/>
          <p:nvPr userDrawn="1"/>
        </p:nvSpPr>
        <p:spPr>
          <a:xfrm>
            <a:off x="0" y="6480000"/>
            <a:ext cx="12192000" cy="37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OM boven" hidden="1">
            <a:extLst>
              <a:ext uri="{FF2B5EF4-FFF2-40B4-BE49-F238E27FC236}">
                <a16:creationId xmlns:a16="http://schemas.microsoft.com/office/drawing/2014/main" id="{00E90C22-DDD1-4763-BDB0-EE01BA216A72}"/>
              </a:ext>
            </a:extLst>
          </p:cNvPr>
          <p:cNvSpPr/>
          <p:nvPr userDrawn="1"/>
        </p:nvSpPr>
        <p:spPr>
          <a:xfrm>
            <a:off x="0" y="6174000"/>
            <a:ext cx="12192000" cy="30600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M" hidden="1">
            <a:extLst>
              <a:ext uri="{FF2B5EF4-FFF2-40B4-BE49-F238E27FC236}">
                <a16:creationId xmlns:a16="http://schemas.microsoft.com/office/drawing/2014/main" id="{76B37DB9-EE0A-417A-88CD-FF35EBD8F078}"/>
              </a:ext>
            </a:extLst>
          </p:cNvPr>
          <p:cNvSpPr/>
          <p:nvPr userDrawn="1"/>
        </p:nvSpPr>
        <p:spPr>
          <a:xfrm>
            <a:off x="0" y="0"/>
            <a:ext cx="756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M" hidden="1">
            <a:extLst>
              <a:ext uri="{FF2B5EF4-FFF2-40B4-BE49-F238E27FC236}">
                <a16:creationId xmlns:a16="http://schemas.microsoft.com/office/drawing/2014/main" id="{25BBDBEA-7988-41F3-A6A1-9D4C41D671E4}"/>
              </a:ext>
            </a:extLst>
          </p:cNvPr>
          <p:cNvSpPr/>
          <p:nvPr userDrawn="1"/>
        </p:nvSpPr>
        <p:spPr>
          <a:xfrm>
            <a:off x="11814000" y="0"/>
            <a:ext cx="378000" cy="685799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T Logoblok" hidden="1">
            <a:extLst>
              <a:ext uri="{FF2B5EF4-FFF2-40B4-BE49-F238E27FC236}">
                <a16:creationId xmlns:a16="http://schemas.microsoft.com/office/drawing/2014/main" id="{F1F4B18A-F86E-49DE-BDA5-34C98A4B0C74}"/>
              </a:ext>
            </a:extLst>
          </p:cNvPr>
          <p:cNvSpPr/>
          <p:nvPr userDrawn="1"/>
        </p:nvSpPr>
        <p:spPr>
          <a:xfrm>
            <a:off x="10914000" y="6174000"/>
            <a:ext cx="900000" cy="306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UT Logo">
            <a:extLst>
              <a:ext uri="{FF2B5EF4-FFF2-40B4-BE49-F238E27FC236}">
                <a16:creationId xmlns:a16="http://schemas.microsoft.com/office/drawing/2014/main" id="{DD722C5C-9BEC-4902-A9E7-70E73E50C6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942364" y="756000"/>
            <a:ext cx="871636" cy="306000"/>
          </a:xfrm>
          <a:prstGeom prst="rect">
            <a:avLst/>
          </a:prstGeom>
        </p:spPr>
      </p:pic>
      <p:sp>
        <p:nvSpPr>
          <p:cNvPr id="28" name="UT Content Height" hidden="1">
            <a:extLst>
              <a:ext uri="{FF2B5EF4-FFF2-40B4-BE49-F238E27FC236}">
                <a16:creationId xmlns:a16="http://schemas.microsoft.com/office/drawing/2014/main" id="{D4633B6D-2C76-45F0-B817-3DF5A1FA385C}"/>
              </a:ext>
            </a:extLst>
          </p:cNvPr>
          <p:cNvSpPr/>
          <p:nvPr userDrawn="1"/>
        </p:nvSpPr>
        <p:spPr>
          <a:xfrm>
            <a:off x="756000" y="755999"/>
            <a:ext cx="11058000" cy="468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UT Width Right" hidden="1">
            <a:extLst>
              <a:ext uri="{FF2B5EF4-FFF2-40B4-BE49-F238E27FC236}">
                <a16:creationId xmlns:a16="http://schemas.microsoft.com/office/drawing/2014/main" id="{F1F915E6-3920-49A5-BB38-0A5164C5F208}"/>
              </a:ext>
            </a:extLst>
          </p:cNvPr>
          <p:cNvSpPr/>
          <p:nvPr userDrawn="1"/>
        </p:nvSpPr>
        <p:spPr>
          <a:xfrm>
            <a:off x="6378000" y="755999"/>
            <a:ext cx="5814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UT Design Center block" hidden="1">
            <a:extLst>
              <a:ext uri="{FF2B5EF4-FFF2-40B4-BE49-F238E27FC236}">
                <a16:creationId xmlns:a16="http://schemas.microsoft.com/office/drawing/2014/main" id="{2F9B9707-9DDA-4E15-9947-BB0E0848191F}"/>
              </a:ext>
            </a:extLst>
          </p:cNvPr>
          <p:cNvSpPr/>
          <p:nvPr userDrawn="1"/>
        </p:nvSpPr>
        <p:spPr>
          <a:xfrm>
            <a:off x="5814001" y="-1"/>
            <a:ext cx="563999" cy="685799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UT Titel left" hidden="1">
            <a:extLst>
              <a:ext uri="{FF2B5EF4-FFF2-40B4-BE49-F238E27FC236}">
                <a16:creationId xmlns:a16="http://schemas.microsoft.com/office/drawing/2014/main" id="{BA457F34-907E-4793-AA89-B056533AFC50}"/>
              </a:ext>
            </a:extLst>
          </p:cNvPr>
          <p:cNvSpPr/>
          <p:nvPr userDrawn="1"/>
        </p:nvSpPr>
        <p:spPr>
          <a:xfrm>
            <a:off x="756001" y="755999"/>
            <a:ext cx="5436000" cy="1332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" name="UT Title 2 Block" hidden="1">
            <a:extLst>
              <a:ext uri="{FF2B5EF4-FFF2-40B4-BE49-F238E27FC236}">
                <a16:creationId xmlns:a16="http://schemas.microsoft.com/office/drawing/2014/main" id="{351A245D-3BE5-4231-A097-72A8C6BD5A9D}"/>
              </a:ext>
            </a:extLst>
          </p:cNvPr>
          <p:cNvSpPr/>
          <p:nvPr userDrawn="1"/>
        </p:nvSpPr>
        <p:spPr>
          <a:xfrm>
            <a:off x="756001" y="2087999"/>
            <a:ext cx="11058000" cy="183600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UT Centerblock" hidden="1">
            <a:extLst>
              <a:ext uri="{FF2B5EF4-FFF2-40B4-BE49-F238E27FC236}">
                <a16:creationId xmlns:a16="http://schemas.microsoft.com/office/drawing/2014/main" id="{92F5DD48-DBDA-4615-A1FF-410322E1F359}"/>
              </a:ext>
            </a:extLst>
          </p:cNvPr>
          <p:cNvSpPr/>
          <p:nvPr userDrawn="1"/>
        </p:nvSpPr>
        <p:spPr>
          <a:xfrm>
            <a:off x="6192000" y="1"/>
            <a:ext cx="186000" cy="6857999"/>
          </a:xfrm>
          <a:prstGeom prst="rect">
            <a:avLst/>
          </a:prstGeom>
          <a:solidFill>
            <a:schemeClr val="accent4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5" name="UT Subtitle Space" hidden="1">
            <a:extLst>
              <a:ext uri="{FF2B5EF4-FFF2-40B4-BE49-F238E27FC236}">
                <a16:creationId xmlns:a16="http://schemas.microsoft.com/office/drawing/2014/main" id="{9842D5A3-A059-437E-A150-940911242607}"/>
              </a:ext>
            </a:extLst>
          </p:cNvPr>
          <p:cNvSpPr/>
          <p:nvPr userDrawn="1"/>
        </p:nvSpPr>
        <p:spPr>
          <a:xfrm>
            <a:off x="749455" y="3923999"/>
            <a:ext cx="11058000" cy="1440000"/>
          </a:xfrm>
          <a:prstGeom prst="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01656BA6-6573-47C5-BED1-D0862580EF89}"/>
              </a:ext>
            </a:extLst>
          </p:cNvPr>
          <p:cNvSpPr/>
          <p:nvPr userDrawn="1"/>
        </p:nvSpPr>
        <p:spPr>
          <a:xfrm>
            <a:off x="756001" y="746562"/>
            <a:ext cx="3564000" cy="814466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UT Left indent" hidden="1">
            <a:extLst>
              <a:ext uri="{FF2B5EF4-FFF2-40B4-BE49-F238E27FC236}">
                <a16:creationId xmlns:a16="http://schemas.microsoft.com/office/drawing/2014/main" id="{B3CE972E-8EF0-4967-A6F2-8C939D24C4A5}"/>
              </a:ext>
            </a:extLst>
          </p:cNvPr>
          <p:cNvSpPr/>
          <p:nvPr userDrawn="1"/>
        </p:nvSpPr>
        <p:spPr>
          <a:xfrm>
            <a:off x="756001" y="754028"/>
            <a:ext cx="489600" cy="541800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11C7E7-59AD-4E60-9839-D5DDE5044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001" y="755999"/>
            <a:ext cx="9430363" cy="97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76575F-5585-47DF-9F39-3C8D63649F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6001" y="2087999"/>
            <a:ext cx="11051454" cy="334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ubtitle</a:t>
            </a:r>
          </a:p>
          <a:p>
            <a:pPr lvl="7"/>
            <a:r>
              <a:rPr lang="en-GB" baseline="0" dirty="0"/>
              <a:t>Standard paragraph</a:t>
            </a:r>
          </a:p>
          <a:p>
            <a:pPr lvl="8"/>
            <a:r>
              <a:rPr lang="en-GB" baseline="0" dirty="0"/>
              <a:t>Standard paragraph</a:t>
            </a:r>
            <a:endParaRPr lang="en-GB" dirty="0"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9A896647-2E8E-4E8A-BD41-1A4117F65E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78575" y="7020000"/>
            <a:ext cx="709146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fld id="{E16DB134-A740-47D9-9359-CFD0405A8817}" type="datetimeFigureOut">
              <a:rPr lang="en-GB" smtClean="0"/>
              <a:pPr/>
              <a:t>11/03/2024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99076071-3077-44EA-B06F-F2C798C4B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2518" y="7020000"/>
            <a:ext cx="4237202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rgbClr val="F0F0F0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8DE21F9C-BAFC-49BC-A41D-D9F19C5F10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2545" y="6298029"/>
            <a:ext cx="511175" cy="180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FB0CC8-2783-4C0F-826D-49494275316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0408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66" r:id="rId2"/>
    <p:sldLayoutId id="2147483806" r:id="rId3"/>
  </p:sldLayoutIdLst>
  <p:txStyles>
    <p:titleStyle>
      <a:lvl1pPr algn="l" defTabSz="914400" rtl="0" eaLnBrk="1" latinLnBrk="0" hangingPunct="1">
        <a:lnSpc>
          <a:spcPts val="3900"/>
        </a:lnSpc>
        <a:spcBef>
          <a:spcPct val="0"/>
        </a:spcBef>
        <a:buNone/>
        <a:defRPr sz="3600" b="1" kern="1200" cap="all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 Narrow" panose="020B0606020202030204" pitchFamily="34" charset="0"/>
        <a:buChar char="•"/>
        <a:defRPr sz="180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08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36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rabi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4pPr>
      <a:lvl5pPr marL="720000" indent="-360000" algn="l" defTabSz="914400" rtl="0" eaLnBrk="1" latinLnBrk="0" hangingPunct="1">
        <a:lnSpc>
          <a:spcPts val="2000"/>
        </a:lnSpc>
        <a:spcBef>
          <a:spcPts val="0"/>
        </a:spcBef>
        <a:spcAft>
          <a:spcPts val="0"/>
        </a:spcAft>
        <a:buFont typeface="+mj-lt"/>
        <a:buAutoNum type="alpha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5pPr>
      <a:lvl6pPr marL="1120050" indent="-400050" algn="l" defTabSz="914400" rtl="0" eaLnBrk="1" latinLnBrk="0" hangingPunct="1">
        <a:lnSpc>
          <a:spcPts val="2000"/>
        </a:lnSpc>
        <a:spcBef>
          <a:spcPts val="0"/>
        </a:spcBef>
        <a:buFont typeface="+mj-lt"/>
        <a:buAutoNum type="romanLcPeriod"/>
        <a:defRPr sz="1800" kern="1200">
          <a:solidFill>
            <a:srgbClr val="000000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ts val="2500"/>
        </a:lnSpc>
        <a:spcBef>
          <a:spcPts val="0"/>
        </a:spcBef>
        <a:buFontTx/>
        <a:buNone/>
        <a:defRPr sz="2200" b="1" kern="1200" cap="all" baseline="0">
          <a:solidFill>
            <a:srgbClr val="000000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2000"/>
        </a:lnSpc>
        <a:spcBef>
          <a:spcPts val="0"/>
        </a:spcBef>
        <a:buFontTx/>
        <a:buNone/>
        <a:defRPr sz="1800" kern="1200" baseline="0">
          <a:solidFill>
            <a:srgbClr val="000000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2000"/>
        </a:lnSpc>
        <a:spcBef>
          <a:spcPts val="0"/>
        </a:spcBef>
        <a:buFont typeface="Arial" panose="020B0604020202020204" pitchFamily="34" charset="0"/>
        <a:buNone/>
        <a:defRPr sz="1800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6" userDrawn="1">
          <p15:clr>
            <a:srgbClr val="F26B43"/>
          </p15:clr>
        </p15:guide>
        <p15:guide id="2" pos="3960" userDrawn="1">
          <p15:clr>
            <a:srgbClr val="F26B43"/>
          </p15:clr>
        </p15:guide>
        <p15:guide id="3" pos="74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41.png"/><Relationship Id="rId7" Type="http://schemas.openxmlformats.org/officeDocument/2006/relationships/image" Target="../media/image4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7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7" Type="http://schemas.openxmlformats.org/officeDocument/2006/relationships/image" Target="../media/image27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27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png"/><Relationship Id="rId4" Type="http://schemas.openxmlformats.org/officeDocument/2006/relationships/image" Target="../media/image3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 descr="图片包含 图表&#10;&#10;描述已自动生成">
            <a:extLst>
              <a:ext uri="{FF2B5EF4-FFF2-40B4-BE49-F238E27FC236}">
                <a16:creationId xmlns:a16="http://schemas.microsoft.com/office/drawing/2014/main" id="{CE4AE5A7-9EAE-CB15-C93C-02F3F7BBEF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AAC4BD8-29BA-4CD6-BEE4-D7C559761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999" y="701464"/>
            <a:ext cx="4030411" cy="631368"/>
          </a:xfrm>
        </p:spPr>
        <p:txBody>
          <a:bodyPr/>
          <a:lstStyle/>
          <a:p>
            <a:r>
              <a:rPr lang="en-US" altLang="zh-CN" sz="1200" dirty="0"/>
              <a:t>2024</a:t>
            </a:r>
            <a:r>
              <a:rPr lang="zh-CN" altLang="en-US" sz="1200" dirty="0"/>
              <a:t>年全国偏微分方程理论与应用研究学术会议</a:t>
            </a:r>
            <a:endParaRPr lang="en-GB" sz="12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29B5D48-ABBC-2574-ECC4-2A6ACC21801E}"/>
              </a:ext>
            </a:extLst>
          </p:cNvPr>
          <p:cNvSpPr txBox="1"/>
          <p:nvPr/>
        </p:nvSpPr>
        <p:spPr>
          <a:xfrm>
            <a:off x="676340" y="1332832"/>
            <a:ext cx="100379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3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35" name="图片 34" descr="图标&#10;&#10;描述已自动生成">
            <a:extLst>
              <a:ext uri="{FF2B5EF4-FFF2-40B4-BE49-F238E27FC236}">
                <a16:creationId xmlns:a16="http://schemas.microsoft.com/office/drawing/2014/main" id="{9C710B65-0CC0-1E20-2C4B-A875D9C12A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648" y="5339329"/>
            <a:ext cx="1336917" cy="1323178"/>
          </a:xfrm>
          <a:prstGeom prst="rect">
            <a:avLst/>
          </a:prstGeom>
        </p:spPr>
      </p:pic>
      <p:sp>
        <p:nvSpPr>
          <p:cNvPr id="39" name="文本框 38">
            <a:extLst>
              <a:ext uri="{FF2B5EF4-FFF2-40B4-BE49-F238E27FC236}">
                <a16:creationId xmlns:a16="http://schemas.microsoft.com/office/drawing/2014/main" id="{DDE4F595-AE6B-04CB-E1EA-1F4D6EABDA80}"/>
              </a:ext>
            </a:extLst>
          </p:cNvPr>
          <p:cNvSpPr txBox="1"/>
          <p:nvPr/>
        </p:nvSpPr>
        <p:spPr>
          <a:xfrm>
            <a:off x="755999" y="2909068"/>
            <a:ext cx="6502445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topic under development by a joint force of</a:t>
            </a:r>
          </a:p>
          <a:p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rea Brugnoli, Artur Palha, Deepesh </a:t>
            </a:r>
            <a:r>
              <a:rPr lang="en-US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oshniwal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Marc </a:t>
            </a:r>
            <a:r>
              <a:rPr lang="en-US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erritsma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Ramy Rashad, Stefano Stramigioli, Yi Zhang, et al.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4350461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</a:t>
            </a:r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al-field method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1588C-6B17-8732-173F-43DE50AF9B2A}"/>
              </a:ext>
            </a:extLst>
          </p:cNvPr>
          <p:cNvSpPr txBox="1"/>
          <p:nvPr/>
        </p:nvSpPr>
        <p:spPr>
          <a:xfrm>
            <a:off x="443010" y="1849741"/>
            <a:ext cx="3455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/>
              <a:t>Differential forms</a:t>
            </a:r>
            <a:endParaRPr lang="zh-CN" altLang="en-US" sz="2800" b="1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EAD4E88-23D9-3379-4F93-0B468CE8AD97}"/>
              </a:ext>
            </a:extLst>
          </p:cNvPr>
          <p:cNvGrpSpPr/>
          <p:nvPr/>
        </p:nvGrpSpPr>
        <p:grpSpPr>
          <a:xfrm>
            <a:off x="2017894" y="3836628"/>
            <a:ext cx="8535591" cy="1815632"/>
            <a:chOff x="3546548" y="4334916"/>
            <a:chExt cx="8535591" cy="181563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56CD45D-7AA4-E4AF-140B-733CFEE03B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46548" y="4409225"/>
              <a:ext cx="8535591" cy="1676634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07BB4C7-DA5B-DC58-D09A-769D5088EAD8}"/>
                </a:ext>
              </a:extLst>
            </p:cNvPr>
            <p:cNvSpPr/>
            <p:nvPr/>
          </p:nvSpPr>
          <p:spPr>
            <a:xfrm>
              <a:off x="3546548" y="4334916"/>
              <a:ext cx="5946368" cy="1815632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FD53BF4A-714C-D68C-0E04-AA4553099D9C}"/>
              </a:ext>
            </a:extLst>
          </p:cNvPr>
          <p:cNvSpPr txBox="1"/>
          <p:nvPr/>
        </p:nvSpPr>
        <p:spPr>
          <a:xfrm>
            <a:off x="500826" y="2558056"/>
            <a:ext cx="6097162" cy="8709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/>
              <a:t>Clear </a:t>
            </a:r>
            <a:r>
              <a:rPr lang="en-US" altLang="zh-CN" b="1" dirty="0"/>
              <a:t>metric-dependent and metric-independent</a:t>
            </a:r>
            <a:r>
              <a:rPr lang="en-US" altLang="zh-CN" dirty="0"/>
              <a:t> operations</a:t>
            </a:r>
          </a:p>
          <a:p>
            <a:pPr>
              <a:lnSpc>
                <a:spcPct val="150000"/>
              </a:lnSpc>
            </a:pPr>
            <a:r>
              <a:rPr lang="en-US" altLang="zh-CN" dirty="0"/>
              <a:t>Clear orientation dependency</a:t>
            </a:r>
          </a:p>
        </p:txBody>
      </p:sp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D2DF5156-8665-32B9-39CF-71926BAA0E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3207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</a:t>
            </a:r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al-field method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1588C-6B17-8732-173F-43DE50AF9B2A}"/>
              </a:ext>
            </a:extLst>
          </p:cNvPr>
          <p:cNvSpPr txBox="1"/>
          <p:nvPr/>
        </p:nvSpPr>
        <p:spPr>
          <a:xfrm>
            <a:off x="443010" y="1849741"/>
            <a:ext cx="64921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/>
              <a:t>Differential forms: classic applications</a:t>
            </a:r>
            <a:endParaRPr lang="zh-CN" altLang="en-US" sz="2800" b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D53BF4A-714C-D68C-0E04-AA4553099D9C}"/>
              </a:ext>
            </a:extLst>
          </p:cNvPr>
          <p:cNvSpPr txBox="1"/>
          <p:nvPr/>
        </p:nvSpPr>
        <p:spPr>
          <a:xfrm>
            <a:off x="500826" y="2534305"/>
            <a:ext cx="10406660" cy="8709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dirty="0"/>
              <a:t>Finite Element Exterior Calculus (FEEC)</a:t>
            </a:r>
          </a:p>
          <a:p>
            <a:pPr>
              <a:lnSpc>
                <a:spcPct val="150000"/>
              </a:lnSpc>
            </a:pPr>
            <a:endParaRPr lang="en-US" altLang="zh-CN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9EF2C24-2805-F439-7627-A586ED7280AC}"/>
              </a:ext>
            </a:extLst>
          </p:cNvPr>
          <p:cNvGrpSpPr/>
          <p:nvPr/>
        </p:nvGrpSpPr>
        <p:grpSpPr>
          <a:xfrm>
            <a:off x="4794741" y="2924561"/>
            <a:ext cx="5395781" cy="1651166"/>
            <a:chOff x="4256678" y="2685638"/>
            <a:chExt cx="7421011" cy="277023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5EABF34-BF5B-D4A2-1DBB-1F4B9B20C37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256678" y="3750658"/>
              <a:ext cx="7421011" cy="1705213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FB11930-5F65-D83C-47D4-B0C8873B25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85283" y="2685638"/>
              <a:ext cx="7163800" cy="1752845"/>
            </a:xfrm>
            <a:prstGeom prst="rect">
              <a:avLst/>
            </a:prstGeom>
          </p:spPr>
        </p:pic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4F505F64-4184-F8CB-366B-F081980A38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3638" y="2934151"/>
            <a:ext cx="3670460" cy="179207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4961C5E-F6AA-FB5F-91A2-7C3476F7F2C7}"/>
              </a:ext>
            </a:extLst>
          </p:cNvPr>
          <p:cNvSpPr txBox="1"/>
          <p:nvPr/>
        </p:nvSpPr>
        <p:spPr>
          <a:xfrm>
            <a:off x="4189021" y="5612740"/>
            <a:ext cx="60950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Discrete Exterior Calculus (DEC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E1AAD9-42AB-71D9-CE70-B3362D8124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56431" y="4840077"/>
            <a:ext cx="2760018" cy="1914658"/>
          </a:xfrm>
          <a:prstGeom prst="rect">
            <a:avLst/>
          </a:prstGeom>
        </p:spPr>
      </p:pic>
      <p:pic>
        <p:nvPicPr>
          <p:cNvPr id="3" name="图片 34" descr="图标&#10;&#10;描述已自动生成">
            <a:extLst>
              <a:ext uri="{FF2B5EF4-FFF2-40B4-BE49-F238E27FC236}">
                <a16:creationId xmlns:a16="http://schemas.microsoft.com/office/drawing/2014/main" id="{492D418B-FE29-CA7B-2A56-2AA5D836E9E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2117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1AAA8F5-8B83-1FE0-86F0-90D1F37B43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010" y="2429151"/>
            <a:ext cx="4673512" cy="13979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DAF4F3-FE48-C809-7048-960F03A26777}"/>
              </a:ext>
            </a:extLst>
          </p:cNvPr>
          <p:cNvSpPr txBox="1"/>
          <p:nvPr/>
        </p:nvSpPr>
        <p:spPr>
          <a:xfrm>
            <a:off x="343376" y="1951295"/>
            <a:ext cx="59861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xample: Apply to incompressible Navier-Stokes equations:</a:t>
            </a:r>
            <a:endParaRPr lang="zh-CN" alt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B1525C-D96E-39B4-BDF3-94A049D96E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9557" y="1997413"/>
            <a:ext cx="1041112" cy="102776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3ABD939-5D10-629D-F5AE-586793ED93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9316" y="4529221"/>
            <a:ext cx="1035435" cy="125307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AD62DEC-4D5A-4D8A-8E59-1230287F30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5543" y="4726372"/>
            <a:ext cx="1053522" cy="9252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767B3FD-BB36-6BE0-D634-DCAB1C69BB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2133" y="1951296"/>
            <a:ext cx="1041112" cy="1114056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4731C3B9-FC49-5CA8-4246-D67D8420642E}"/>
              </a:ext>
            </a:extLst>
          </p:cNvPr>
          <p:cNvGrpSpPr/>
          <p:nvPr/>
        </p:nvGrpSpPr>
        <p:grpSpPr>
          <a:xfrm>
            <a:off x="6255657" y="3174557"/>
            <a:ext cx="5652990" cy="1305107"/>
            <a:chOff x="3546548" y="4334916"/>
            <a:chExt cx="8535591" cy="181563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72D728E-B349-0692-E970-CE7267289CD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546548" y="4409225"/>
              <a:ext cx="8535591" cy="1676634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242C34-8588-AFBB-5884-D995E41B5AEA}"/>
                </a:ext>
              </a:extLst>
            </p:cNvPr>
            <p:cNvSpPr/>
            <p:nvPr/>
          </p:nvSpPr>
          <p:spPr>
            <a:xfrm>
              <a:off x="3546548" y="4334916"/>
              <a:ext cx="5946368" cy="1815632"/>
            </a:xfrm>
            <a:prstGeom prst="rect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5" name="图片 34" descr="图标&#10;&#10;描述已自动生成">
            <a:extLst>
              <a:ext uri="{FF2B5EF4-FFF2-40B4-BE49-F238E27FC236}">
                <a16:creationId xmlns:a16="http://schemas.microsoft.com/office/drawing/2014/main" id="{8A2AD4CD-AEDA-7C06-D065-7FE426DC83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1C7E62A-22C2-E94B-14BE-6DB9E125A5F4}"/>
              </a:ext>
            </a:extLst>
          </p:cNvPr>
          <p:cNvSpPr txBox="1"/>
          <p:nvPr/>
        </p:nvSpPr>
        <p:spPr>
          <a:xfrm>
            <a:off x="7780576" y="1352821"/>
            <a:ext cx="2006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Option 1</a:t>
            </a:r>
            <a:endParaRPr lang="zh-CN" alt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3925E4-9F46-FDCB-56DE-BD151F97C063}"/>
              </a:ext>
            </a:extLst>
          </p:cNvPr>
          <p:cNvSpPr txBox="1"/>
          <p:nvPr/>
        </p:nvSpPr>
        <p:spPr>
          <a:xfrm>
            <a:off x="7913317" y="5831859"/>
            <a:ext cx="20069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Option 2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5205925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286F27D-B84C-A03D-2E54-E0685BAC70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372" y="3258227"/>
            <a:ext cx="5606111" cy="4328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42B7631-1F23-093D-D19C-12D70EE2FC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372" y="3672626"/>
            <a:ext cx="10700625" cy="170282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1AAA8F5-8B83-1FE0-86F0-90D1F37B43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72" y="1525606"/>
            <a:ext cx="4657442" cy="1393152"/>
          </a:xfrm>
          <a:prstGeom prst="rect">
            <a:avLst/>
          </a:prstGeom>
        </p:spPr>
      </p:pic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CE792072-EE42-5EA1-FE9E-CF846A4FAA4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2364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1AAA8F5-8B83-1FE0-86F0-90D1F37B43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72" y="1525606"/>
            <a:ext cx="4657442" cy="139315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C78ED88-F057-32F4-9448-A9D1528AC0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216" y="3290001"/>
            <a:ext cx="672627" cy="4561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14ECDA7-D185-0F73-2FA6-CCB2081074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8372" y="3290001"/>
            <a:ext cx="2799917" cy="4809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9E39308-77DF-F0B9-FC54-D1B1722507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96048" y="3302392"/>
            <a:ext cx="2042555" cy="5140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BAC42C-DEFF-9271-C4C9-A00EA6D0D3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2216" y="3649059"/>
            <a:ext cx="10667725" cy="1683335"/>
          </a:xfrm>
          <a:prstGeom prst="rect">
            <a:avLst/>
          </a:prstGeom>
        </p:spPr>
      </p:pic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3C599199-8096-E0BB-4C80-96A071F84D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5994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12D8EE-F0A1-F83F-742D-D143DBF324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2402" y="1728658"/>
            <a:ext cx="9518073" cy="2534331"/>
          </a:xfrm>
          <a:prstGeom prst="rect">
            <a:avLst/>
          </a:prstGeom>
        </p:spPr>
      </p:pic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0F396D3B-23CD-D415-DF8A-B561B24C60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CBC5280-CEEC-14DF-4FB9-440DB5D90576}"/>
              </a:ext>
            </a:extLst>
          </p:cNvPr>
          <p:cNvSpPr txBox="1"/>
          <p:nvPr/>
        </p:nvSpPr>
        <p:spPr>
          <a:xfrm>
            <a:off x="3626342" y="5195455"/>
            <a:ext cx="7732406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our knowledge, it is the first mass, energy and helicity conserving scheme.</a:t>
            </a:r>
          </a:p>
          <a:p>
            <a:endParaRPr lang="en-US" altLang="zh-CN" sz="20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[</a:t>
            </a:r>
            <a:r>
              <a:rPr lang="de-DE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Zhang, Palha, Gerritsma, Rebholz. JCP, 2022</a:t>
            </a:r>
            <a:r>
              <a:rPr lang="en-US" altLang="zh-C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]</a:t>
            </a:r>
            <a:endParaRPr lang="zh-CN" alt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07556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B62D018-716D-CE7C-71F3-8612B940A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C2DB0D-BDB1-4B4C-9C22-0B2900A37EFB}" type="slidenum">
              <a:rPr lang="en-US" smtClean="0"/>
              <a:t>16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C0A462-4FE8-02CA-2C05-9B18A754EE68}"/>
              </a:ext>
            </a:extLst>
          </p:cNvPr>
          <p:cNvSpPr txBox="1"/>
          <p:nvPr/>
        </p:nvSpPr>
        <p:spPr>
          <a:xfrm>
            <a:off x="2321882" y="4977440"/>
            <a:ext cx="735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2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79DC8C-1C2B-49CC-767F-B95C131A33ED}"/>
              </a:ext>
            </a:extLst>
          </p:cNvPr>
          <p:cNvSpPr txBox="1"/>
          <p:nvPr/>
        </p:nvSpPr>
        <p:spPr>
          <a:xfrm>
            <a:off x="4985430" y="4963631"/>
            <a:ext cx="735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4096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724FA03-20C7-105D-1747-29ED37FA8CC8}"/>
              </a:ext>
            </a:extLst>
          </p:cNvPr>
          <p:cNvSpPr txBox="1"/>
          <p:nvPr/>
        </p:nvSpPr>
        <p:spPr>
          <a:xfrm>
            <a:off x="7557633" y="4977440"/>
            <a:ext cx="92911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638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588E620-773D-45C6-36CE-BFC77E0F0C2F}"/>
              </a:ext>
            </a:extLst>
          </p:cNvPr>
          <p:cNvSpPr txBox="1"/>
          <p:nvPr/>
        </p:nvSpPr>
        <p:spPr>
          <a:xfrm>
            <a:off x="10221181" y="4963631"/>
            <a:ext cx="9706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65536</a:t>
            </a:r>
          </a:p>
        </p:txBody>
      </p:sp>
      <p:sp>
        <p:nvSpPr>
          <p:cNvPr id="11" name="文本框 4">
            <a:extLst>
              <a:ext uri="{FF2B5EF4-FFF2-40B4-BE49-F238E27FC236}">
                <a16:creationId xmlns:a16="http://schemas.microsoft.com/office/drawing/2014/main" id="{8AE03C2B-6B10-0E6C-4AAF-A751E83E7BF2}"/>
              </a:ext>
            </a:extLst>
          </p:cNvPr>
          <p:cNvSpPr txBox="1"/>
          <p:nvPr/>
        </p:nvSpPr>
        <p:spPr>
          <a:xfrm>
            <a:off x="1242175" y="178344"/>
            <a:ext cx="9700938" cy="9795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F1571D66-B9E1-AF5D-A4E3-EA7265B8DA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  <p:sp>
        <p:nvSpPr>
          <p:cNvPr id="12" name="内容占位符 11">
            <a:extLst>
              <a:ext uri="{FF2B5EF4-FFF2-40B4-BE49-F238E27FC236}">
                <a16:creationId xmlns:a16="http://schemas.microsoft.com/office/drawing/2014/main" id="{248D00FF-4AF1-6337-9E03-B87D6141F3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                                                                            (</a:t>
            </a:r>
            <a:r>
              <a:rPr lang="en-US" altLang="zh-CN" dirty="0"/>
              <a:t>videos deleted.</a:t>
            </a:r>
            <a:r>
              <a:rPr lang="en-US" dirty="0"/>
              <a:t>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2384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2BFB23-08F8-DA29-6A2A-4BEDACEEEC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C2DB0D-BDB1-4B4C-9C22-0B2900A37EFB}" type="slidenum">
              <a:rPr lang="en-US" smtClean="0"/>
              <a:t>17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7FEFA6-CAF7-E16C-BA15-877520103E8A}"/>
              </a:ext>
            </a:extLst>
          </p:cNvPr>
          <p:cNvSpPr txBox="1"/>
          <p:nvPr/>
        </p:nvSpPr>
        <p:spPr>
          <a:xfrm>
            <a:off x="1935067" y="6172755"/>
            <a:ext cx="3105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ructure preserving ~64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35AFF1D-4FBB-FE55-B9FD-B15F7A6A2098}"/>
              </a:ext>
            </a:extLst>
          </p:cNvPr>
          <p:cNvSpPr txBox="1"/>
          <p:nvPr/>
        </p:nvSpPr>
        <p:spPr>
          <a:xfrm>
            <a:off x="7284989" y="6172755"/>
            <a:ext cx="3105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tandard Nonlinear ~64K </a:t>
            </a:r>
          </a:p>
        </p:txBody>
      </p:sp>
      <p:sp>
        <p:nvSpPr>
          <p:cNvPr id="11" name="文本框 4">
            <a:extLst>
              <a:ext uri="{FF2B5EF4-FFF2-40B4-BE49-F238E27FC236}">
                <a16:creationId xmlns:a16="http://schemas.microsoft.com/office/drawing/2014/main" id="{48E87325-9EDE-A74C-E391-BF6D0B55C8CB}"/>
              </a:ext>
            </a:extLst>
          </p:cNvPr>
          <p:cNvSpPr txBox="1"/>
          <p:nvPr/>
        </p:nvSpPr>
        <p:spPr>
          <a:xfrm>
            <a:off x="1242175" y="178344"/>
            <a:ext cx="9700938" cy="9795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6BE85F1E-A3E0-B0B6-3F13-46BCBE6C23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  <p:sp>
        <p:nvSpPr>
          <p:cNvPr id="5" name="内容占位符 4">
            <a:extLst>
              <a:ext uri="{FF2B5EF4-FFF2-40B4-BE49-F238E27FC236}">
                <a16:creationId xmlns:a16="http://schemas.microsoft.com/office/drawing/2014/main" id="{6B416BF0-1E29-516E-6F74-3A706F223A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                                                                         (</a:t>
            </a:r>
            <a:r>
              <a:rPr lang="en-US" altLang="zh-CN" dirty="0"/>
              <a:t>videos deleted.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561813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7500F81-122D-4981-B3AD-1DED6C57B6E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D8500E4-A1E6-434E-B2F0-C68F00678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94550" y="2457000"/>
            <a:ext cx="5435250" cy="972000"/>
          </a:xfrm>
        </p:spPr>
        <p:txBody>
          <a:bodyPr/>
          <a:lstStyle/>
          <a:p>
            <a:r>
              <a:rPr lang="nl-NL" altLang="zh-CN" dirty="0" err="1"/>
              <a:t>ThanKS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4AF82C-C6C3-D248-5818-A43BAC2FD220}"/>
              </a:ext>
            </a:extLst>
          </p:cNvPr>
          <p:cNvSpPr txBox="1"/>
          <p:nvPr/>
        </p:nvSpPr>
        <p:spPr>
          <a:xfrm>
            <a:off x="279068" y="6135515"/>
            <a:ext cx="88055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ny slides are directly taken from a presentation of Ramy </a:t>
            </a:r>
            <a:r>
              <a:rPr lang="en-US" altLang="zh-CN" dirty="0">
                <a:solidFill>
                  <a:srgbClr val="22222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ashad to whom credits belong.</a:t>
            </a:r>
            <a:endParaRPr lang="zh-CN" alt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7CC45E-D2AD-C304-9DD5-317F7D96F2F9}"/>
              </a:ext>
            </a:extLst>
          </p:cNvPr>
          <p:cNvSpPr txBox="1"/>
          <p:nvPr/>
        </p:nvSpPr>
        <p:spPr>
          <a:xfrm>
            <a:off x="279068" y="4543335"/>
            <a:ext cx="724365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[1] Mohamed, Hirani, </a:t>
            </a:r>
            <a:r>
              <a:rPr lang="en-US" altLang="zh-CN" b="0" dirty="0" err="1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Samtaney</a:t>
            </a:r>
            <a:r>
              <a:rPr lang="en-US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R. </a:t>
            </a:r>
            <a:r>
              <a:rPr lang="en-US" altLang="zh-CN" b="1" i="1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JCP</a:t>
            </a:r>
            <a:r>
              <a:rPr lang="en-US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, 2016</a:t>
            </a:r>
          </a:p>
          <a:p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[2] Brugnoli, Rashad, Zhang, Stramigioli. (under review)</a:t>
            </a:r>
            <a:endParaRPr lang="en-US" altLang="zh-CN" b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r>
              <a:rPr lang="de-DE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[3] Zhang, Palha, Gerritsma</a:t>
            </a:r>
            <a:r>
              <a:rPr lang="de-DE" altLang="zh-CN" dirty="0">
                <a:solidFill>
                  <a:srgbClr val="222222"/>
                </a:solidFill>
                <a:latin typeface="Arial" panose="020B0604020202020204" pitchFamily="34" charset="0"/>
              </a:rPr>
              <a:t>,</a:t>
            </a:r>
            <a:r>
              <a:rPr lang="de-DE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 Rebholz. </a:t>
            </a:r>
            <a:r>
              <a:rPr lang="de-DE" altLang="zh-CN" b="1" i="1" dirty="0">
                <a:solidFill>
                  <a:srgbClr val="222222"/>
                </a:solidFill>
                <a:latin typeface="Arial" panose="020B0604020202020204" pitchFamily="34" charset="0"/>
              </a:rPr>
              <a:t>JCP</a:t>
            </a:r>
            <a:r>
              <a:rPr lang="de-DE" altLang="zh-CN" dirty="0">
                <a:solidFill>
                  <a:srgbClr val="222222"/>
                </a:solidFill>
                <a:latin typeface="Arial" panose="020B0604020202020204" pitchFamily="34" charset="0"/>
              </a:rPr>
              <a:t>, </a:t>
            </a:r>
            <a:r>
              <a:rPr lang="de-DE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2022</a:t>
            </a:r>
          </a:p>
          <a:p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[4] Rashad, Brugnoli, </a:t>
            </a:r>
            <a:r>
              <a:rPr lang="en-US" altLang="zh-CN" dirty="0" err="1">
                <a:solidFill>
                  <a:srgbClr val="222222"/>
                </a:solidFill>
                <a:latin typeface="Arial" panose="020B0604020202020204" pitchFamily="34" charset="0"/>
              </a:rPr>
              <a:t>Califano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, Luesink, Stramigioli. </a:t>
            </a:r>
            <a:r>
              <a:rPr lang="en-US" altLang="zh-CN" b="1" i="1" dirty="0">
                <a:solidFill>
                  <a:srgbClr val="222222"/>
                </a:solidFill>
                <a:latin typeface="Arial" panose="020B0604020202020204" pitchFamily="34" charset="0"/>
              </a:rPr>
              <a:t>JNS</a:t>
            </a:r>
            <a:r>
              <a:rPr lang="en-US" altLang="zh-CN" dirty="0">
                <a:solidFill>
                  <a:srgbClr val="222222"/>
                </a:solidFill>
                <a:latin typeface="Arial" panose="020B0604020202020204" pitchFamily="34" charset="0"/>
              </a:rPr>
              <a:t>, 2023</a:t>
            </a:r>
          </a:p>
          <a:p>
            <a:r>
              <a:rPr lang="en-US" altLang="zh-CN" b="0" dirty="0">
                <a:solidFill>
                  <a:srgbClr val="222222"/>
                </a:solidFill>
                <a:effectLst/>
                <a:latin typeface="Arial" panose="020B0604020202020204" pitchFamily="34" charset="0"/>
              </a:rPr>
              <a:t>….</a:t>
            </a:r>
          </a:p>
        </p:txBody>
      </p:sp>
      <p:pic>
        <p:nvPicPr>
          <p:cNvPr id="3" name="图片 34" descr="图标&#10;&#10;描述已自动生成">
            <a:extLst>
              <a:ext uri="{FF2B5EF4-FFF2-40B4-BE49-F238E27FC236}">
                <a16:creationId xmlns:a16="http://schemas.microsoft.com/office/drawing/2014/main" id="{1213205F-E778-2DB3-D859-880EDF514A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654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图片 37" descr="图片包含 图表&#10;&#10;描述已自动生成">
            <a:extLst>
              <a:ext uri="{FF2B5EF4-FFF2-40B4-BE49-F238E27FC236}">
                <a16:creationId xmlns:a16="http://schemas.microsoft.com/office/drawing/2014/main" id="{CE4AE5A7-9EAE-CB15-C93C-02F3F7BBEF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BAAC4BD8-29BA-4CD6-BEE4-D7C5597618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5999" y="701464"/>
            <a:ext cx="4030411" cy="631368"/>
          </a:xfrm>
        </p:spPr>
        <p:txBody>
          <a:bodyPr/>
          <a:lstStyle/>
          <a:p>
            <a:r>
              <a:rPr lang="en-US" altLang="zh-CN" sz="1200" dirty="0"/>
              <a:t>2024</a:t>
            </a:r>
            <a:r>
              <a:rPr lang="zh-CN" altLang="en-US" sz="1200" dirty="0"/>
              <a:t>年全国偏微分方程理论与应用研究学术会议</a:t>
            </a:r>
            <a:endParaRPr lang="en-GB" sz="1200" dirty="0"/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829B5D48-ABBC-2574-ECC4-2A6ACC21801E}"/>
              </a:ext>
            </a:extLst>
          </p:cNvPr>
          <p:cNvSpPr txBox="1"/>
          <p:nvPr/>
        </p:nvSpPr>
        <p:spPr>
          <a:xfrm>
            <a:off x="676340" y="1332832"/>
            <a:ext cx="100379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physics and mathematics: </a:t>
            </a:r>
          </a:p>
          <a:p>
            <a:r>
              <a:rPr lang="en-US" sz="3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35" name="图片 34" descr="图标&#10;&#10;描述已自动生成">
            <a:extLst>
              <a:ext uri="{FF2B5EF4-FFF2-40B4-BE49-F238E27FC236}">
                <a16:creationId xmlns:a16="http://schemas.microsoft.com/office/drawing/2014/main" id="{9C710B65-0CC0-1E20-2C4B-A875D9C12A4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5046" y="2678277"/>
            <a:ext cx="1979199" cy="1958860"/>
          </a:xfrm>
          <a:prstGeom prst="rect">
            <a:avLst/>
          </a:prstGeom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C993E1FF-A499-A618-F003-BD523BB43E2A}"/>
              </a:ext>
            </a:extLst>
          </p:cNvPr>
          <p:cNvSpPr txBox="1"/>
          <p:nvPr/>
        </p:nvSpPr>
        <p:spPr>
          <a:xfrm>
            <a:off x="3973860" y="2882811"/>
            <a:ext cx="476118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esenter: Yi Zhang</a:t>
            </a:r>
          </a:p>
          <a:p>
            <a:r>
              <a:rPr lang="en-US" u="sng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zhangyi_aero@hotmail.com</a:t>
            </a: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screte </a:t>
            </a:r>
            <a:r>
              <a:rPr 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ometries of </a:t>
            </a:r>
            <a:r>
              <a:rPr 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athematics and </a:t>
            </a:r>
            <a:r>
              <a:rPr lang="en-US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ysics</a:t>
            </a:r>
            <a:endParaRPr lang="en-US" altLang="zh-CN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School of Mathematics and Computing Science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Guilin University of  Electronic Technology</a:t>
            </a:r>
          </a:p>
        </p:txBody>
      </p:sp>
    </p:spTree>
    <p:extLst>
      <p:ext uri="{BB962C8B-B14F-4D97-AF65-F5344CB8AC3E}">
        <p14:creationId xmlns:p14="http://schemas.microsoft.com/office/powerpoint/2010/main" val="25904231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>
            <a:extLst>
              <a:ext uri="{FF2B5EF4-FFF2-40B4-BE49-F238E27FC236}">
                <a16:creationId xmlns:a16="http://schemas.microsoft.com/office/drawing/2014/main" id="{5C91977A-2560-2C20-9E81-51770729B4EE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nd mathematics: </a:t>
            </a:r>
          </a:p>
          <a:p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dual-field methods </a:t>
            </a:r>
          </a:p>
        </p:txBody>
      </p:sp>
      <p:pic>
        <p:nvPicPr>
          <p:cNvPr id="15" name="图片 14" descr="地上有瀑布&#10;&#10;描述已自动生成">
            <a:extLst>
              <a:ext uri="{FF2B5EF4-FFF2-40B4-BE49-F238E27FC236}">
                <a16:creationId xmlns:a16="http://schemas.microsoft.com/office/drawing/2014/main" id="{8B768118-0672-C357-5FF3-830C0D2D05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8" y="1454315"/>
            <a:ext cx="2769651" cy="1847753"/>
          </a:xfrm>
          <a:prstGeom prst="rect">
            <a:avLst/>
          </a:prstGeom>
        </p:spPr>
      </p:pic>
      <p:pic>
        <p:nvPicPr>
          <p:cNvPr id="18" name="图片 17" descr="背景图案&#10;&#10;中度可信度描述已自动生成">
            <a:extLst>
              <a:ext uri="{FF2B5EF4-FFF2-40B4-BE49-F238E27FC236}">
                <a16:creationId xmlns:a16="http://schemas.microsoft.com/office/drawing/2014/main" id="{298DE48A-AB83-4B9D-6DC6-B1BBF32378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2848" y="1436863"/>
            <a:ext cx="3401543" cy="1847752"/>
          </a:xfrm>
          <a:prstGeom prst="rect">
            <a:avLst/>
          </a:prstGeom>
        </p:spPr>
      </p:pic>
      <p:pic>
        <p:nvPicPr>
          <p:cNvPr id="20" name="图片 19" descr="地上有许多星星&#10;&#10;中度可信度描述已自动生成">
            <a:extLst>
              <a:ext uri="{FF2B5EF4-FFF2-40B4-BE49-F238E27FC236}">
                <a16:creationId xmlns:a16="http://schemas.microsoft.com/office/drawing/2014/main" id="{BE03A8A2-3D7F-93FC-E6B1-05CE6463F4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3420" y="1436863"/>
            <a:ext cx="3287055" cy="184775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FF46FDC-E286-C6DF-BFE0-436CB8D02C9D}"/>
              </a:ext>
            </a:extLst>
          </p:cNvPr>
          <p:cNvSpPr txBox="1"/>
          <p:nvPr/>
        </p:nvSpPr>
        <p:spPr>
          <a:xfrm>
            <a:off x="6744050" y="4046907"/>
            <a:ext cx="2915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5BBEE2-4763-0019-FDBB-4E2FBF8852C2}"/>
              </a:ext>
            </a:extLst>
          </p:cNvPr>
          <p:cNvSpPr txBox="1"/>
          <p:nvPr/>
        </p:nvSpPr>
        <p:spPr>
          <a:xfrm>
            <a:off x="6744049" y="4549676"/>
            <a:ext cx="4780953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Symmetries in time and space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Monotonicity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servation laws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- Momentum conservation (micro and macro)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- Energy conservation (macro)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- Mass conservation (macro)</a:t>
            </a:r>
          </a:p>
          <a:p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- 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48415CD-EF6A-7C90-0934-2E98AADF26E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7" t="2098" r="2535" b="37862"/>
          <a:stretch/>
        </p:blipFill>
        <p:spPr>
          <a:xfrm rot="624058">
            <a:off x="989898" y="3651591"/>
            <a:ext cx="4246127" cy="273421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D012915-BD6F-BE44-4945-271EC929B94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074291">
            <a:off x="641836" y="5052831"/>
            <a:ext cx="4787318" cy="86131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6293A80-2879-1B76-F424-0606DDCFABB7}"/>
              </a:ext>
            </a:extLst>
          </p:cNvPr>
          <p:cNvSpPr txBox="1"/>
          <p:nvPr/>
        </p:nvSpPr>
        <p:spPr>
          <a:xfrm>
            <a:off x="1737728" y="4251326"/>
            <a:ext cx="28402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ymmetry</a:t>
            </a:r>
          </a:p>
        </p:txBody>
      </p:sp>
      <p:pic>
        <p:nvPicPr>
          <p:cNvPr id="3" name="图片 34" descr="图标&#10;&#10;描述已自动生成">
            <a:extLst>
              <a:ext uri="{FF2B5EF4-FFF2-40B4-BE49-F238E27FC236}">
                <a16:creationId xmlns:a16="http://schemas.microsoft.com/office/drawing/2014/main" id="{D998BEC1-7058-25BF-0EBF-F729E32F53A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2527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地上有瀑布&#10;&#10;描述已自动生成">
            <a:extLst>
              <a:ext uri="{FF2B5EF4-FFF2-40B4-BE49-F238E27FC236}">
                <a16:creationId xmlns:a16="http://schemas.microsoft.com/office/drawing/2014/main" id="{8B768118-0672-C357-5FF3-830C0D2D05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9" y="1338783"/>
            <a:ext cx="2418102" cy="1613220"/>
          </a:xfrm>
          <a:prstGeom prst="rect">
            <a:avLst/>
          </a:prstGeom>
        </p:spPr>
      </p:pic>
      <p:pic>
        <p:nvPicPr>
          <p:cNvPr id="18" name="图片 17" descr="背景图案&#10;&#10;中度可信度描述已自动生成">
            <a:extLst>
              <a:ext uri="{FF2B5EF4-FFF2-40B4-BE49-F238E27FC236}">
                <a16:creationId xmlns:a16="http://schemas.microsoft.com/office/drawing/2014/main" id="{298DE48A-AB83-4B9D-6DC6-B1BBF32378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8" y="3190016"/>
            <a:ext cx="2418103" cy="1313538"/>
          </a:xfrm>
          <a:prstGeom prst="rect">
            <a:avLst/>
          </a:prstGeom>
        </p:spPr>
      </p:pic>
      <p:pic>
        <p:nvPicPr>
          <p:cNvPr id="20" name="图片 19" descr="地上有许多星星&#10;&#10;中度可信度描述已自动生成">
            <a:extLst>
              <a:ext uri="{FF2B5EF4-FFF2-40B4-BE49-F238E27FC236}">
                <a16:creationId xmlns:a16="http://schemas.microsoft.com/office/drawing/2014/main" id="{BE03A8A2-3D7F-93FC-E6B1-05CE6463F4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9" y="4762509"/>
            <a:ext cx="2418102" cy="13592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DFB483C-417A-A274-B27B-BF7D1D1FB822}"/>
              </a:ext>
            </a:extLst>
          </p:cNvPr>
          <p:cNvSpPr txBox="1"/>
          <p:nvPr/>
        </p:nvSpPr>
        <p:spPr>
          <a:xfrm>
            <a:off x="604168" y="6160547"/>
            <a:ext cx="2915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AAC178-53B3-1A31-DC41-5C9E0110364D}"/>
              </a:ext>
            </a:extLst>
          </p:cNvPr>
          <p:cNvSpPr txBox="1"/>
          <p:nvPr/>
        </p:nvSpPr>
        <p:spPr>
          <a:xfrm>
            <a:off x="604168" y="6160546"/>
            <a:ext cx="2915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s</a:t>
            </a:r>
          </a:p>
        </p:txBody>
      </p:sp>
      <p:sp>
        <p:nvSpPr>
          <p:cNvPr id="8" name="文本框 23">
            <a:extLst>
              <a:ext uri="{FF2B5EF4-FFF2-40B4-BE49-F238E27FC236}">
                <a16:creationId xmlns:a16="http://schemas.microsoft.com/office/drawing/2014/main" id="{7B3D6C61-2E4D-F407-1C8C-1C61FCAD48CC}"/>
              </a:ext>
            </a:extLst>
          </p:cNvPr>
          <p:cNvSpPr txBox="1"/>
          <p:nvPr/>
        </p:nvSpPr>
        <p:spPr>
          <a:xfrm>
            <a:off x="7321524" y="2244177"/>
            <a:ext cx="257923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usive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vective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ectronic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gnetic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diative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oustic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…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C065227-1E7E-BDDA-EAB9-33F7738C46E8}"/>
              </a:ext>
            </a:extLst>
          </p:cNvPr>
          <p:cNvSpPr txBox="1"/>
          <p:nvPr/>
        </p:nvSpPr>
        <p:spPr>
          <a:xfrm>
            <a:off x="7321524" y="1538118"/>
            <a:ext cx="411196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hematics models:</a:t>
            </a:r>
          </a:p>
        </p:txBody>
      </p:sp>
      <p:sp>
        <p:nvSpPr>
          <p:cNvPr id="10" name="文本框 4">
            <a:extLst>
              <a:ext uri="{FF2B5EF4-FFF2-40B4-BE49-F238E27FC236}">
                <a16:creationId xmlns:a16="http://schemas.microsoft.com/office/drawing/2014/main" id="{8F565C5F-97B0-4F31-B42C-4563E986F321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</a:t>
            </a:r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preserving dual-field methods </a:t>
            </a:r>
          </a:p>
        </p:txBody>
      </p:sp>
      <p:cxnSp>
        <p:nvCxnSpPr>
          <p:cNvPr id="2" name="直接箭头连接符 21">
            <a:extLst>
              <a:ext uri="{FF2B5EF4-FFF2-40B4-BE49-F238E27FC236}">
                <a16:creationId xmlns:a16="http://schemas.microsoft.com/office/drawing/2014/main" id="{4ECC0D23-7C62-79ED-5F00-5554B7C86541}"/>
              </a:ext>
            </a:extLst>
          </p:cNvPr>
          <p:cNvCxnSpPr>
            <a:cxnSpLocks/>
          </p:cNvCxnSpPr>
          <p:nvPr/>
        </p:nvCxnSpPr>
        <p:spPr>
          <a:xfrm>
            <a:off x="4067688" y="3846785"/>
            <a:ext cx="2522482" cy="0"/>
          </a:xfrm>
          <a:prstGeom prst="straightConnector1">
            <a:avLst/>
          </a:prstGeom>
          <a:ln w="76200">
            <a:solidFill>
              <a:schemeClr val="tx1"/>
            </a:solidFill>
            <a:headEnd type="diamond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图片 34" descr="图标&#10;&#10;描述已自动生成">
            <a:extLst>
              <a:ext uri="{FF2B5EF4-FFF2-40B4-BE49-F238E27FC236}">
                <a16:creationId xmlns:a16="http://schemas.microsoft.com/office/drawing/2014/main" id="{4E6FEF0D-1972-1A6A-02F3-D6B2EA90C0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8855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 descr="地上有瀑布&#10;&#10;描述已自动生成">
            <a:extLst>
              <a:ext uri="{FF2B5EF4-FFF2-40B4-BE49-F238E27FC236}">
                <a16:creationId xmlns:a16="http://schemas.microsoft.com/office/drawing/2014/main" id="{8B768118-0672-C357-5FF3-830C0D2D05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9" y="1338783"/>
            <a:ext cx="2418102" cy="1613220"/>
          </a:xfrm>
          <a:prstGeom prst="rect">
            <a:avLst/>
          </a:prstGeom>
        </p:spPr>
      </p:pic>
      <p:pic>
        <p:nvPicPr>
          <p:cNvPr id="18" name="图片 17" descr="背景图案&#10;&#10;中度可信度描述已自动生成">
            <a:extLst>
              <a:ext uri="{FF2B5EF4-FFF2-40B4-BE49-F238E27FC236}">
                <a16:creationId xmlns:a16="http://schemas.microsoft.com/office/drawing/2014/main" id="{298DE48A-AB83-4B9D-6DC6-B1BBF323780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8" y="3190016"/>
            <a:ext cx="2418103" cy="1313538"/>
          </a:xfrm>
          <a:prstGeom prst="rect">
            <a:avLst/>
          </a:prstGeom>
        </p:spPr>
      </p:pic>
      <p:pic>
        <p:nvPicPr>
          <p:cNvPr id="20" name="图片 19" descr="地上有许多星星&#10;&#10;中度可信度描述已自动生成">
            <a:extLst>
              <a:ext uri="{FF2B5EF4-FFF2-40B4-BE49-F238E27FC236}">
                <a16:creationId xmlns:a16="http://schemas.microsoft.com/office/drawing/2014/main" id="{BE03A8A2-3D7F-93FC-E6B1-05CE6463F4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69" y="4762509"/>
            <a:ext cx="2418102" cy="1359287"/>
          </a:xfrm>
          <a:prstGeom prst="rect">
            <a:avLst/>
          </a:prstGeom>
        </p:spPr>
      </p:pic>
      <p:cxnSp>
        <p:nvCxnSpPr>
          <p:cNvPr id="22" name="直接箭头连接符 21">
            <a:extLst>
              <a:ext uri="{FF2B5EF4-FFF2-40B4-BE49-F238E27FC236}">
                <a16:creationId xmlns:a16="http://schemas.microsoft.com/office/drawing/2014/main" id="{5EBDFC23-B9F3-1BB6-5040-6E472B598E4D}"/>
              </a:ext>
            </a:extLst>
          </p:cNvPr>
          <p:cNvCxnSpPr>
            <a:cxnSpLocks/>
          </p:cNvCxnSpPr>
          <p:nvPr/>
        </p:nvCxnSpPr>
        <p:spPr>
          <a:xfrm>
            <a:off x="4067688" y="3846785"/>
            <a:ext cx="2522482" cy="0"/>
          </a:xfrm>
          <a:prstGeom prst="straightConnector1">
            <a:avLst/>
          </a:prstGeom>
          <a:ln w="76200">
            <a:solidFill>
              <a:schemeClr val="tx1"/>
            </a:solidFill>
            <a:headEnd type="diamond" w="med" len="med"/>
            <a:tailEnd type="triangl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1DFB483C-417A-A274-B27B-BF7D1D1FB822}"/>
              </a:ext>
            </a:extLst>
          </p:cNvPr>
          <p:cNvSpPr txBox="1"/>
          <p:nvPr/>
        </p:nvSpPr>
        <p:spPr>
          <a:xfrm>
            <a:off x="604168" y="6160547"/>
            <a:ext cx="2915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AAC178-53B3-1A31-DC41-5C9E0110364D}"/>
              </a:ext>
            </a:extLst>
          </p:cNvPr>
          <p:cNvSpPr txBox="1"/>
          <p:nvPr/>
        </p:nvSpPr>
        <p:spPr>
          <a:xfrm>
            <a:off x="8518168" y="5150838"/>
            <a:ext cx="2915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s</a:t>
            </a:r>
          </a:p>
        </p:txBody>
      </p:sp>
      <p:sp>
        <p:nvSpPr>
          <p:cNvPr id="2" name="文本框 23">
            <a:extLst>
              <a:ext uri="{FF2B5EF4-FFF2-40B4-BE49-F238E27FC236}">
                <a16:creationId xmlns:a16="http://schemas.microsoft.com/office/drawing/2014/main" id="{61B7FB74-0F56-2069-2B53-32891BF2E64A}"/>
              </a:ext>
            </a:extLst>
          </p:cNvPr>
          <p:cNvSpPr txBox="1"/>
          <p:nvPr/>
        </p:nvSpPr>
        <p:spPr>
          <a:xfrm>
            <a:off x="7321524" y="2244177"/>
            <a:ext cx="257923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ffusive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vective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ectronic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gnetic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diative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oustic</a:t>
            </a:r>
          </a:p>
          <a:p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…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DEF1CFA-94BF-58E5-9B66-219A6A75ECB9}"/>
              </a:ext>
            </a:extLst>
          </p:cNvPr>
          <p:cNvSpPr txBox="1"/>
          <p:nvPr/>
        </p:nvSpPr>
        <p:spPr>
          <a:xfrm>
            <a:off x="7321524" y="1538118"/>
            <a:ext cx="411196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hematics models:</a:t>
            </a:r>
          </a:p>
        </p:txBody>
      </p:sp>
      <p:sp>
        <p:nvSpPr>
          <p:cNvPr id="9" name="文本框 4">
            <a:extLst>
              <a:ext uri="{FF2B5EF4-FFF2-40B4-BE49-F238E27FC236}">
                <a16:creationId xmlns:a16="http://schemas.microsoft.com/office/drawing/2014/main" id="{D7356E68-1C3F-07CB-AD70-50221AE1A662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</a:t>
            </a:r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preserving dual-field methods </a:t>
            </a:r>
          </a:p>
        </p:txBody>
      </p:sp>
      <p:pic>
        <p:nvPicPr>
          <p:cNvPr id="5" name="图片 34" descr="图标&#10;&#10;描述已自动生成">
            <a:extLst>
              <a:ext uri="{FF2B5EF4-FFF2-40B4-BE49-F238E27FC236}">
                <a16:creationId xmlns:a16="http://schemas.microsoft.com/office/drawing/2014/main" id="{0977B00D-9094-4987-CBDA-34988DD239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80766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文本框 4">
            <a:extLst>
              <a:ext uri="{FF2B5EF4-FFF2-40B4-BE49-F238E27FC236}">
                <a16:creationId xmlns:a16="http://schemas.microsoft.com/office/drawing/2014/main" id="{F37C066F-CB17-2015-8FD2-D3BE00E88D3E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</a:t>
            </a:r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preserving dual-field methods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FE8CF8A-ED05-F43D-A731-8EAB4EF1BC9B}"/>
              </a:ext>
            </a:extLst>
          </p:cNvPr>
          <p:cNvSpPr txBox="1"/>
          <p:nvPr/>
        </p:nvSpPr>
        <p:spPr>
          <a:xfrm>
            <a:off x="366229" y="1772551"/>
            <a:ext cx="411196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athematics models: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23C1F60-FE3F-A738-FA1A-DF58E7FD46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010" y="2619338"/>
            <a:ext cx="4348957" cy="130087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494407B3-15C6-9D15-5C5D-EC2A28B79E33}"/>
                  </a:ext>
                </a:extLst>
              </p:cNvPr>
              <p:cNvSpPr txBox="1"/>
              <p:nvPr/>
            </p:nvSpPr>
            <p:spPr>
              <a:xfrm>
                <a:off x="5260224" y="2207578"/>
                <a:ext cx="6324019" cy="30444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Mass conservation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Kinetic energy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sz="24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f>
                              <m:fPr>
                                <m:ctrlPr>
                                  <a:rPr lang="en-US" altLang="zh-CN" sz="2400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altLang="zh-CN" sz="2400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en-US" altLang="zh-CN" sz="2400" i="1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den>
                            </m:f>
                            <m:r>
                              <a:rPr lang="en-US" altLang="zh-CN" sz="2400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lt;</m:t>
                            </m:r>
                            <m:r>
                              <a:rPr lang="en-US" altLang="zh-CN" sz="2400" b="1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𝒖</m:t>
                            </m:r>
                            <m:r>
                              <a:rPr lang="en-US" altLang="zh-CN" sz="2400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altLang="zh-CN" sz="2400" b="1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𝒖</m:t>
                            </m:r>
                            <m:r>
                              <a:rPr lang="en-US" altLang="zh-CN" sz="2400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gt;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240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Ω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nservation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Momentum (linear and angular) conservation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</a:t>
                </a:r>
                <a:r>
                  <a:rPr lang="en-US" altLang="zh-CN" sz="24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strophy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f>
                              <m:fPr>
                                <m:ctrlPr>
                                  <a:rPr lang="en-US" altLang="zh-CN" sz="24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en-US" altLang="zh-CN" sz="24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num>
                              <m:den>
                                <m:r>
                                  <a:rPr lang="en-US" altLang="zh-CN" sz="24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den>
                            </m:f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lt;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𝜔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𝜔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gt;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2400" b="0" i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Ω</m:t>
                            </m:r>
                          </m:sub>
                        </m:sSub>
                      </m:e>
                    </m:d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nservation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Helicity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lt;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𝜔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,</m:t>
                            </m:r>
                            <m:r>
                              <a:rPr lang="en-US" altLang="zh-CN" sz="2400" b="1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𝒖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gt;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2400" b="0" i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Ω</m:t>
                            </m:r>
                          </m:sub>
                        </m:sSub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nservation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 Vorticity </a:t>
                </a:r>
                <a14:m>
                  <m:oMath xmlns:m="http://schemas.openxmlformats.org/officeDocument/2006/math">
                    <m:d>
                      <m:d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&lt;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𝜔</m:t>
                            </m:r>
                            <m:r>
                              <a:rPr lang="en-US" altLang="zh-CN" sz="24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,1&gt;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altLang="zh-CN" sz="2400" b="0" i="0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Ω</m:t>
                            </m:r>
                          </m:sub>
                        </m:sSub>
                      </m:e>
                    </m:d>
                    <m:r>
                      <a:rPr lang="en-US" altLang="zh-CN" sz="24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conservation</a:t>
                </a:r>
              </a:p>
              <a:p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……</a:t>
                </a:r>
              </a:p>
            </p:txBody>
          </p:sp>
        </mc:Choice>
        <mc:Fallback xmlns=""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494407B3-15C6-9D15-5C5D-EC2A28B79E3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0224" y="2207578"/>
                <a:ext cx="6324019" cy="3044423"/>
              </a:xfrm>
              <a:prstGeom prst="rect">
                <a:avLst/>
              </a:prstGeom>
              <a:blipFill>
                <a:blip r:embed="rId3"/>
                <a:stretch>
                  <a:fillRect l="-1543" t="-1600" b="-3600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TextBox 1">
            <a:extLst>
              <a:ext uri="{FF2B5EF4-FFF2-40B4-BE49-F238E27FC236}">
                <a16:creationId xmlns:a16="http://schemas.microsoft.com/office/drawing/2014/main" id="{A1ED2B90-AE72-82D4-6B68-F25EB5D81394}"/>
              </a:ext>
            </a:extLst>
          </p:cNvPr>
          <p:cNvSpPr txBox="1"/>
          <p:nvPr/>
        </p:nvSpPr>
        <p:spPr>
          <a:xfrm>
            <a:off x="5212903" y="1530703"/>
            <a:ext cx="29153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7377C84-5583-955B-DB7A-4B4C0BA19ED1}"/>
              </a:ext>
            </a:extLst>
          </p:cNvPr>
          <p:cNvSpPr txBox="1"/>
          <p:nvPr/>
        </p:nvSpPr>
        <p:spPr>
          <a:xfrm>
            <a:off x="3431878" y="5252001"/>
            <a:ext cx="70708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terms of discretization, they are not trivial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095FA3-7A28-A2DE-DC96-006FCB6C483F}"/>
              </a:ext>
            </a:extLst>
          </p:cNvPr>
          <p:cNvSpPr txBox="1"/>
          <p:nvPr/>
        </p:nvSpPr>
        <p:spPr>
          <a:xfrm>
            <a:off x="3431878" y="5657671"/>
            <a:ext cx="74338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b="1" dirty="0"/>
              <a:t>“From infinite dimensions to finite dimensions. Approximations are made everywhere including in the structures.”</a:t>
            </a:r>
            <a:endParaRPr lang="zh-CN" altLang="en-US" sz="2400" b="1" dirty="0"/>
          </a:p>
        </p:txBody>
      </p:sp>
      <p:pic>
        <p:nvPicPr>
          <p:cNvPr id="6" name="图片 34" descr="图标&#10;&#10;描述已自动生成">
            <a:extLst>
              <a:ext uri="{FF2B5EF4-FFF2-40B4-BE49-F238E27FC236}">
                <a16:creationId xmlns:a16="http://schemas.microsoft.com/office/drawing/2014/main" id="{0CA7343A-B6D1-52C3-7544-75ADCCF155B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3867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13A7043-A5CB-CDF7-1CAE-216AB1B4DF87}"/>
              </a:ext>
            </a:extLst>
          </p:cNvPr>
          <p:cNvSpPr txBox="1"/>
          <p:nvPr/>
        </p:nvSpPr>
        <p:spPr>
          <a:xfrm>
            <a:off x="443009" y="1514063"/>
            <a:ext cx="7433862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b="1" dirty="0"/>
              <a:t>“From infinite dimensions to finite dimensions. Approximations are made everywhere including in the structures.”</a:t>
            </a:r>
            <a:endParaRPr lang="zh-CN" altLang="en-US" sz="24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0974E9C-174A-5620-B20C-BE9A57FC69EB}"/>
              </a:ext>
            </a:extLst>
          </p:cNvPr>
          <p:cNvSpPr txBox="1"/>
          <p:nvPr/>
        </p:nvSpPr>
        <p:spPr>
          <a:xfrm>
            <a:off x="443009" y="2915924"/>
            <a:ext cx="1089275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avoid approximation in one or some structures: </a:t>
            </a:r>
            <a:r>
              <a:rPr lang="en-US" altLang="zh-CN" sz="2400" b="1" i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</a:t>
            </a:r>
            <a:r>
              <a:rPr lang="en-US" altLang="zh-CN" sz="2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ethods</a:t>
            </a:r>
            <a:endParaRPr lang="zh-CN" altLang="en-US" sz="24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0640AF7-5EC1-DE67-5ED9-29FAA8B79D8A}"/>
              </a:ext>
            </a:extLst>
          </p:cNvPr>
          <p:cNvSpPr txBox="1"/>
          <p:nvPr/>
        </p:nvSpPr>
        <p:spPr>
          <a:xfrm>
            <a:off x="4226215" y="3579121"/>
            <a:ext cx="22633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3200" b="1" dirty="0"/>
              <a:t>accura</a:t>
            </a:r>
            <a:r>
              <a:rPr lang="en-US" altLang="zh-CN" sz="3200" b="1" dirty="0"/>
              <a:t>cy</a:t>
            </a:r>
            <a:endParaRPr lang="zh-CN" altLang="en-US" sz="32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A62E01D-9904-39B1-D916-2A64F3850911}"/>
              </a:ext>
            </a:extLst>
          </p:cNvPr>
          <p:cNvSpPr txBox="1"/>
          <p:nvPr/>
        </p:nvSpPr>
        <p:spPr>
          <a:xfrm>
            <a:off x="9203913" y="3575599"/>
            <a:ext cx="18037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3200" b="1" dirty="0"/>
              <a:t>stability</a:t>
            </a:r>
            <a:endParaRPr lang="zh-CN" altLang="en-US" sz="3200" b="1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923C031-C64A-0206-7BDF-60E751FEE8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283" y="4247568"/>
            <a:ext cx="2692792" cy="168607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1FD9E4C-2FB7-CA9D-5A5A-9F10039F2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8581" y="4262965"/>
            <a:ext cx="2033159" cy="16860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3D03569-AC45-9840-722D-6A3E85B33C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56465" y="4204015"/>
            <a:ext cx="3802815" cy="253881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C713BEB-7535-AF32-F15E-278C296CCEAB}"/>
                  </a:ext>
                </a:extLst>
              </p:cNvPr>
              <p:cNvSpPr txBox="1"/>
              <p:nvPr/>
            </p:nvSpPr>
            <p:spPr>
              <a:xfrm>
                <a:off x="8095225" y="4263132"/>
                <a:ext cx="3802815" cy="212468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f a method conserves 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an </a:t>
                </a:r>
                <a:r>
                  <a: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energy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𝐾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den>
                    </m:f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&lt;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1" i="1" smtClean="0">
                            <a:latin typeface="Cambria Math" panose="02040503050406030204" pitchFamily="18" charset="0"/>
                          </a:rPr>
                          <m:t>𝒖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  <m:r>
                      <a:rPr lang="en-US" altLang="zh-CN" sz="2400" b="0" i="1" smtClean="0">
                        <a:latin typeface="Cambria Math" panose="02040503050406030204" pitchFamily="18" charset="0"/>
                      </a:rPr>
                      <m:t>, </m:t>
                    </m:r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1" i="1" smtClean="0">
                            <a:latin typeface="Cambria Math" panose="02040503050406030204" pitchFamily="18" charset="0"/>
                          </a:rPr>
                          <m:t>𝒖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&gt;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en-US" altLang="zh-CN" sz="2400" b="0" i="0" smtClean="0">
                            <a:latin typeface="Cambria Math" panose="02040503050406030204" pitchFamily="18" charset="0"/>
                          </a:rPr>
                          <m:t>Ω</m:t>
                        </m:r>
                      </m:sub>
                    </m:sSub>
                  </m:oMath>
                </a14:m>
                <a:r>
                  <a: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 then we know, automatically, the solutio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altLang="zh-CN" sz="2400" b="1" i="1" smtClean="0">
                            <a:latin typeface="Cambria Math" panose="02040503050406030204" pitchFamily="18" charset="0"/>
                          </a:rPr>
                          <m:t>𝒖</m:t>
                        </m:r>
                      </m:e>
                      <m:sub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sub>
                    </m:sSub>
                  </m:oMath>
                </a14:m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is bounded under a</a:t>
                </a:r>
                <a:r>
                  <a:rPr lang="en-US" altLang="zh-CN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</a:t>
                </a:r>
                <a:r>
                  <a: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𝐿</m:t>
                        </m:r>
                      </m:e>
                      <m:sup>
                        <m:r>
                          <a:rPr lang="en-US" altLang="zh-CN" sz="24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p>
                  </m:oMath>
                </a14:m>
                <a:r>
                  <a:rPr lang="zh-CN" altLang="en-US" sz="24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-norm.	</a:t>
                </a:r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C713BEB-7535-AF32-F15E-278C296CCE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95225" y="4263132"/>
                <a:ext cx="3802815" cy="2124684"/>
              </a:xfrm>
              <a:prstGeom prst="rect">
                <a:avLst/>
              </a:prstGeom>
              <a:blipFill>
                <a:blip r:embed="rId5"/>
                <a:stretch>
                  <a:fillRect l="-2564" t="-2292" r="-4167" b="-4011"/>
                </a:stretch>
              </a:blipFill>
            </p:spPr>
            <p:txBody>
              <a:bodyPr/>
              <a:lstStyle/>
              <a:p>
                <a:r>
                  <a:rPr lang="zh-CN" alt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</a:t>
            </a:r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dual-field methods </a:t>
            </a:r>
          </a:p>
        </p:txBody>
      </p:sp>
      <p:pic>
        <p:nvPicPr>
          <p:cNvPr id="2" name="图片 34" descr="图标&#10;&#10;描述已自动生成">
            <a:extLst>
              <a:ext uri="{FF2B5EF4-FFF2-40B4-BE49-F238E27FC236}">
                <a16:creationId xmlns:a16="http://schemas.microsoft.com/office/drawing/2014/main" id="{83FCBCBE-0243-F2A8-DF87-9BB4248766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2182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</a:t>
            </a:r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al-field methods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4AB180-7D22-9803-DAC0-6B40384A0B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8145" y="1455997"/>
            <a:ext cx="5672790" cy="254115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1CFBE89-2CFF-E685-9979-45B85244B3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4986" y="3997155"/>
            <a:ext cx="4345950" cy="81014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991588C-6B17-8732-173F-43DE50AF9B2A}"/>
              </a:ext>
            </a:extLst>
          </p:cNvPr>
          <p:cNvSpPr txBox="1"/>
          <p:nvPr/>
        </p:nvSpPr>
        <p:spPr>
          <a:xfrm>
            <a:off x="443010" y="1849741"/>
            <a:ext cx="3455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/>
              <a:t>Differential forms</a:t>
            </a:r>
            <a:endParaRPr lang="zh-CN" altLang="en-US" sz="28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9FEE20D-4DDC-3934-92E5-7106067740C0}"/>
              </a:ext>
            </a:extLst>
          </p:cNvPr>
          <p:cNvSpPr txBox="1"/>
          <p:nvPr/>
        </p:nvSpPr>
        <p:spPr>
          <a:xfrm>
            <a:off x="443010" y="3138615"/>
            <a:ext cx="501873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dirty="0"/>
              <a:t>What are differential forms ?</a:t>
            </a:r>
          </a:p>
          <a:p>
            <a:pPr lvl="1"/>
            <a:r>
              <a:rPr lang="en-US" altLang="zh-CN" b="1" dirty="0"/>
              <a:t>Intuitively:</a:t>
            </a:r>
          </a:p>
          <a:p>
            <a:pPr marL="257175" lvl="1" indent="0">
              <a:buNone/>
            </a:pPr>
            <a:r>
              <a:rPr lang="en-US" altLang="zh-CN" dirty="0"/>
              <a:t>	 “An integrand”	</a:t>
            </a:r>
          </a:p>
          <a:p>
            <a:pPr lvl="1"/>
            <a:r>
              <a:rPr lang="en-US" altLang="zh-CN" b="1" dirty="0"/>
              <a:t>Technically:</a:t>
            </a:r>
          </a:p>
          <a:p>
            <a:pPr marL="257175" lvl="1" indent="0">
              <a:buNone/>
            </a:pPr>
            <a:r>
              <a:rPr lang="en-US" altLang="zh-CN" dirty="0"/>
              <a:t>	“Totally anti-symmetric k-covariant tensor field”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B76918-BF55-07EA-614C-00619FD72B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0583" y="5301007"/>
            <a:ext cx="1047913" cy="10344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776B967-A9CB-D602-D799-7F8F2CD02E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302" y="5172102"/>
            <a:ext cx="1118327" cy="1353389"/>
          </a:xfrm>
          <a:prstGeom prst="rect">
            <a:avLst/>
          </a:prstGeom>
        </p:spPr>
      </p:pic>
      <p:pic>
        <p:nvPicPr>
          <p:cNvPr id="3" name="图片 34" descr="图标&#10;&#10;描述已自动生成">
            <a:extLst>
              <a:ext uri="{FF2B5EF4-FFF2-40B4-BE49-F238E27FC236}">
                <a16:creationId xmlns:a16="http://schemas.microsoft.com/office/drawing/2014/main" id="{B1EF308C-C6D9-7F2B-B1A3-5288E40AAE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2124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4">
            <a:extLst>
              <a:ext uri="{FF2B5EF4-FFF2-40B4-BE49-F238E27FC236}">
                <a16:creationId xmlns:a16="http://schemas.microsoft.com/office/drawing/2014/main" id="{7A9F498D-E75F-ECB1-6B2F-0044E23257C4}"/>
              </a:ext>
            </a:extLst>
          </p:cNvPr>
          <p:cNvSpPr txBox="1"/>
          <p:nvPr/>
        </p:nvSpPr>
        <p:spPr>
          <a:xfrm>
            <a:off x="443010" y="374287"/>
            <a:ext cx="9949619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rinsic discretization of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ysics and mathematics</a:t>
            </a:r>
            <a:r>
              <a:rPr lang="en-US" sz="2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  <a:p>
            <a:r>
              <a:rPr lang="en-US" sz="2800" i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ructure-preserving </a:t>
            </a:r>
            <a:r>
              <a:rPr lang="en-US" sz="2800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al-field method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991588C-6B17-8732-173F-43DE50AF9B2A}"/>
              </a:ext>
            </a:extLst>
          </p:cNvPr>
          <p:cNvSpPr txBox="1"/>
          <p:nvPr/>
        </p:nvSpPr>
        <p:spPr>
          <a:xfrm>
            <a:off x="443010" y="1849741"/>
            <a:ext cx="34551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b="1" dirty="0"/>
              <a:t>Differential forms</a:t>
            </a:r>
            <a:endParaRPr lang="zh-CN" altLang="en-US" sz="2800" b="1" dirty="0"/>
          </a:p>
        </p:txBody>
      </p:sp>
      <p:pic>
        <p:nvPicPr>
          <p:cNvPr id="2" name="Picture 1" descr="\documentclass{article}&#10;\usepackage{amsmath}&#10;\usepackage{amssymb}&#10;\usepackage{amsfonts}&#10;\usepackage{colortbl}&#10;\pagestyle{empty}\pagestyle{empty}&#10;\begin{document}&#10;\input{commands}&#10;&#10;\begin{equation*}&#10; \extd (\alpha^k\wedge \beta^m) = \extd(\alpha^k)\wedge \beta^m \pm \alpha^k\wedge \extd(\beta^m)&#10;\end{equation*}&#10;&#10;\end{document}" title="IguanaTex Bitmap Display">
            <a:extLst>
              <a:ext uri="{FF2B5EF4-FFF2-40B4-BE49-F238E27FC236}">
                <a16:creationId xmlns:a16="http://schemas.microsoft.com/office/drawing/2014/main" id="{DF948E83-91AF-9182-6B8D-4CE1AAE4A374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0537" y="2922106"/>
            <a:ext cx="3880138" cy="259396"/>
          </a:xfrm>
          <a:prstGeom prst="rect">
            <a:avLst/>
          </a:prstGeom>
        </p:spPr>
      </p:pic>
      <p:pic>
        <p:nvPicPr>
          <p:cNvPr id="5" name="Picture 4" descr="\documentclass{article}&#10;\usepackage{amsmath}&#10;\usepackage{amssymb}&#10;\usepackage{amsfonts}&#10;\usepackage{colortbl}&#10;\pagestyle{empty}\pagestyle{empty}&#10;\begin{document}&#10;\input{commands}&#10;&#10;{\renewcommand{\arraystretch}{1.6}&#10; \begin{center}&#10;  \begin{tabular}{|l|l|}&#10;   \hline&#10;   $k=0,m=0$ &amp; \red{$\grad(f_1\cdot f_2)=\grad(f_1)\cdot f_2 + f_1\cdot\grad(f_2)$}\\\hline&#10;   $k=0,m=1$ &amp; \red{$\curl(f\cdot \vec{\alpha})= \grad(f)\times \vec{\alpha}+ f\cdot\curl(\vec{\alpha})$}\\\hline&#10;   $k=0,m=2$ &amp; \red{$\divR(f\cdot\omegaV)=\grad(f)\bullet\omegaV + f\cdot\divR(\omegaV)$}\\\hline&#10;   $k=1,m=1$ &amp; \red{$\divR(\vec{\alpha}\times \vec{\beta})= \curl(\vec{\alpha})\bullet \vec{\beta} - \vec{\alpha}\bullet \curl(\vec{\beta})$}\\\hline&#10;  \end{tabular}&#10; \end{center}&#10;} &#10;&#10;\end{document}" title="IguanaTex Bitmap Display">
            <a:extLst>
              <a:ext uri="{FF2B5EF4-FFF2-40B4-BE49-F238E27FC236}">
                <a16:creationId xmlns:a16="http://schemas.microsoft.com/office/drawing/2014/main" id="{CE69C905-531E-C5CE-A33E-BC9FD51A52E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3662" y="3497540"/>
            <a:ext cx="5085302" cy="15080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83CE04F-71D1-F3B5-75F8-2F8A3BD05C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0275" y="3566081"/>
            <a:ext cx="4371673" cy="137099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7924148-665C-1B2B-CCA9-453B7A585D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19540" y="2663279"/>
            <a:ext cx="2233142" cy="7770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571AF6C-A45E-DFCB-372B-8F8A785843F6}"/>
              </a:ext>
            </a:extLst>
          </p:cNvPr>
          <p:cNvSpPr txBox="1"/>
          <p:nvPr/>
        </p:nvSpPr>
        <p:spPr>
          <a:xfrm>
            <a:off x="2944898" y="1858807"/>
            <a:ext cx="37972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i="1" dirty="0"/>
              <a:t>  vs.  </a:t>
            </a:r>
            <a:r>
              <a:rPr lang="en-US" altLang="zh-CN" sz="2800" b="1" dirty="0"/>
              <a:t> vector calculus</a:t>
            </a:r>
            <a:endParaRPr lang="zh-CN" altLang="en-US" sz="2800" b="1" dirty="0"/>
          </a:p>
        </p:txBody>
      </p:sp>
      <p:pic>
        <p:nvPicPr>
          <p:cNvPr id="3" name="图片 34" descr="图标&#10;&#10;描述已自动生成">
            <a:extLst>
              <a:ext uri="{FF2B5EF4-FFF2-40B4-BE49-F238E27FC236}">
                <a16:creationId xmlns:a16="http://schemas.microsoft.com/office/drawing/2014/main" id="{F8CCF5C3-5835-01D7-0DE7-9E29AC18CE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75" y="107269"/>
            <a:ext cx="1253495" cy="1240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6114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5lzes/JIxxKtEC/aPBU5fAFAAAAAAADAAAAAAADAAAAAwADAAAAAAD///////8DAAEA////////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MwLAAAAAAAAAAAAACAB////////////////AAAA////////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BQEDAAAAAgD///////8aAAZMaW5rZWRTaGFwZXNEYXRhUHJvcGVydHlfMAUAAAAAAAQAAAADAAQAAAABAAQAAAADAP///////wQAAAADAP///////wQAAAADAP///////wQAAAADAP///////wMABQEDAAAAAwD///////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Jlzes/JIxxKtEC/aPBU5fADRGF0YQAbAAAABExpbmtlZFNoYXBlRGF0YQAFAAAAAAACTmFtZQAZAAAATGlua2VkU2hhcGVzRGF0YVByb3BlcnR5ABBWZXJzaW9uAAAAAAAJTGFzdFdyaXRlALPGWCt/AQAAAAEA/////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.982"/>
  <p:tag name="ORIGINALWIDTH" val="2153.731"/>
  <p:tag name="LATEXADDIN" val="\documentclass{article}&#10;\usepackage{amsmath}&#10;\usepackage{amssymb}&#10;\usepackage{amsfonts}&#10;\usepackage{colortbl}&#10;\pagestyle{empty}\pagestyle{empty}&#10;\begin{document}&#10;\input{commands}&#10;&#10;\begin{equation*}&#10; \extd (\alpha^k\wedge \beta^m) = \extd(\alpha^k)\wedge \beta^m \pm \alpha^k\wedge \extd(\beta^m)&#10;\end{equation*}&#10;&#10;\end{document}"/>
  <p:tag name="IGUANATEXSIZE" val="18"/>
  <p:tag name="IGUANATEXCURSOR" val="295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81.6273"/>
  <p:tag name="ORIGINALWIDTH" val="3310.086"/>
  <p:tag name="LATEXADDIN" val="\documentclass{article}&#10;\usepackage{amsmath}&#10;\usepackage{amssymb}&#10;\usepackage{amsfonts}&#10;\usepackage{colortbl}&#10;\pagestyle{empty}\pagestyle{empty}&#10;\begin{document}&#10;\input{commands}&#10;&#10;{\renewcommand{\arraystretch}{1.6}&#10; \begin{center}&#10;  \begin{tabular}{|l|l|}&#10;   \hline&#10;   $k=0,m=0$ &amp; \red{$\grad(f_1\cdot f_2)=\grad(f_1)\cdot f_2 + f_1\cdot\grad(f_2)$}\\\hline&#10;   $k=0,m=1$ &amp; \red{$\curl(f\cdot \vec{\alpha})= \grad(f)\times \vec{\alpha}+ f\cdot\curl(\vec{\alpha})$}\\\hline&#10;   $k=0,m=2$ &amp; \red{$\divR(f\cdot\omegaV)=\grad(f)\bullet\omegaV + f\cdot\divR(\omegaV)$}\\\hline&#10;   $k=1,m=1$ &amp; \red{$\divR(\vec{\alpha}\times \vec{\beta})= \curl(\vec{\alpha})\bullet \vec{\beta} - \vec{\alpha}\bullet \curl(\vec{\beta})$}\\\hline&#10;  \end{tabular}&#10; \end{center}&#10;} &#10;&#10;\end{document}"/>
  <p:tag name="IGUANATEXSIZE" val="20"/>
  <p:tag name="IGUANATEXCURSOR" val="752"/>
  <p:tag name="TRANSPARENCY" val="True"/>
  <p:tag name="FILENAME" val=""/>
  <p:tag name="LATEXENGINEID" val="0"/>
  <p:tag name="TEMPFOLDER" val="c:\temp\"/>
  <p:tag name="LATEXFORMHEIGHT" val="312"/>
  <p:tag name="LATEXFORMWIDTH" val="384"/>
  <p:tag name="LATEXFORMWRAP" val="True"/>
  <p:tag name="BITMAPVECTOR" val="0"/>
</p:tagLst>
</file>

<file path=ppt/theme/theme1.xml><?xml version="1.0" encoding="utf-8"?>
<a:theme xmlns:a="http://schemas.openxmlformats.org/drawingml/2006/main" name="01 University of Twente - Titl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12693CE4-27C3-49E6-85BB-D2DD80EAD76F}"/>
    </a:ext>
  </a:extLst>
</a:theme>
</file>

<file path=ppt/theme/theme2.xml><?xml version="1.0" encoding="utf-8"?>
<a:theme xmlns:a="http://schemas.openxmlformats.org/drawingml/2006/main" name="03 University of Twente - Table of content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6ECF471B-1A4E-44FE-B11E-CE605721946F}"/>
    </a:ext>
  </a:extLst>
</a:theme>
</file>

<file path=ppt/theme/theme3.xml><?xml version="1.0" encoding="utf-8"?>
<a:theme xmlns:a="http://schemas.openxmlformats.org/drawingml/2006/main" name="04 University of Twente - Chapter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7639B887-4334-47E9-8FDB-5DBD7BCD640E}"/>
    </a:ext>
  </a:extLst>
</a:theme>
</file>

<file path=ppt/theme/theme4.xml><?xml version="1.0" encoding="utf-8"?>
<a:theme xmlns:a="http://schemas.openxmlformats.org/drawingml/2006/main" name="05 University of Twente - Text slides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6FD34B7E-A1CE-449F-958B-CD4D8411061A}"/>
    </a:ext>
  </a:extLst>
</a:theme>
</file>

<file path=ppt/theme/theme5.xml><?xml version="1.0" encoding="utf-8"?>
<a:theme xmlns:a="http://schemas.openxmlformats.org/drawingml/2006/main" name="06 University of Twente - Image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AFEB889A-D174-4D29-8AEC-F502CFAB61A8}"/>
    </a:ext>
  </a:extLst>
</a:theme>
</file>

<file path=ppt/theme/theme6.xml><?xml version="1.0" encoding="utf-8"?>
<a:theme xmlns:a="http://schemas.openxmlformats.org/drawingml/2006/main" name="07 University of Twente - Video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83B69554-240D-4E7D-89A8-D524E1769E74}"/>
    </a:ext>
  </a:extLst>
</a:theme>
</file>

<file path=ppt/theme/theme7.xml><?xml version="1.0" encoding="utf-8"?>
<a:theme xmlns:a="http://schemas.openxmlformats.org/drawingml/2006/main" name="08 University of Twente - Closing slides">
  <a:themeElements>
    <a:clrScheme name="UT">
      <a:dk1>
        <a:srgbClr val="231F20"/>
      </a:dk1>
      <a:lt1>
        <a:sysClr val="window" lastClr="FFFFFF"/>
      </a:lt1>
      <a:dk2>
        <a:srgbClr val="59595B"/>
      </a:dk2>
      <a:lt2>
        <a:srgbClr val="F0F1F2"/>
      </a:lt2>
      <a:accent1>
        <a:srgbClr val="002C5F"/>
      </a:accent1>
      <a:accent2>
        <a:srgbClr val="EC7A08"/>
      </a:accent2>
      <a:accent3>
        <a:srgbClr val="FED100"/>
      </a:accent3>
      <a:accent4>
        <a:srgbClr val="1E2328"/>
      </a:accent4>
      <a:accent5>
        <a:srgbClr val="939598"/>
      </a:accent5>
      <a:accent6>
        <a:srgbClr val="59595B"/>
      </a:accent6>
      <a:hlink>
        <a:srgbClr val="0094B3"/>
      </a:hlink>
      <a:folHlink>
        <a:srgbClr val="4F2DAC"/>
      </a:folHlink>
    </a:clrScheme>
    <a:fontScheme name="U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T General DIY 01.potx" id="{35F18231-F20B-4C54-838F-C01C593A3BCE}" vid="{2839130A-8A90-4278-8DA9-004BB2EC94FF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51DAAA238E4943BBE62D89BF3399BA" ma:contentTypeVersion="0" ma:contentTypeDescription="Een nieuw document maken." ma:contentTypeScope="" ma:versionID="151dd2f24d5bd02a44fac0c4b7b50aa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42a63267f1119f9d8c4d666028f947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23F005D-20C1-47D7-855C-C5C9D4199643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D6EA0CC-6001-48B9-A47A-9D635CE089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6E541F-8F4B-4504-8464-25F8B3D65C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hyem</Template>
  <TotalTime>943</TotalTime>
  <Words>640</Words>
  <Application>Microsoft Office PowerPoint</Application>
  <PresentationFormat>宽屏</PresentationFormat>
  <Paragraphs>129</Paragraphs>
  <Slides>18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7</vt:i4>
      </vt:variant>
      <vt:variant>
        <vt:lpstr>幻灯片标题</vt:lpstr>
      </vt:variant>
      <vt:variant>
        <vt:i4>18</vt:i4>
      </vt:variant>
    </vt:vector>
  </HeadingPairs>
  <TitlesOfParts>
    <vt:vector size="31" baseType="lpstr">
      <vt:lpstr>等线</vt:lpstr>
      <vt:lpstr>Arial</vt:lpstr>
      <vt:lpstr>Arial Narrow</vt:lpstr>
      <vt:lpstr>Calibri</vt:lpstr>
      <vt:lpstr>Cambria Math</vt:lpstr>
      <vt:lpstr>Times New Roman</vt:lpstr>
      <vt:lpstr>01 University of Twente - Title Slides</vt:lpstr>
      <vt:lpstr>03 University of Twente - Table of content slides</vt:lpstr>
      <vt:lpstr>04 University of Twente - Chapter slides</vt:lpstr>
      <vt:lpstr>05 University of Twente - Text slidesslides</vt:lpstr>
      <vt:lpstr>06 University of Twente - Image slides</vt:lpstr>
      <vt:lpstr>07 University of Twente - Video slides</vt:lpstr>
      <vt:lpstr>08 University of Twente - Closing slide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ThanKS</vt:lpstr>
    </vt:vector>
  </TitlesOfParts>
  <Company>University of Twen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YEM</dc:title>
  <dc:creator>Zhang, Yi (UT-EEMCS)</dc:creator>
  <dc:description>Template by HQ Solutions</dc:description>
  <cp:lastModifiedBy>Yi Zhang</cp:lastModifiedBy>
  <cp:revision>2</cp:revision>
  <dcterms:created xsi:type="dcterms:W3CDTF">2023-04-19T10:59:31Z</dcterms:created>
  <dcterms:modified xsi:type="dcterms:W3CDTF">2024-03-11T07:58:11Z</dcterms:modified>
  <cp:version>004</cp:version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51DAAA238E4943BBE62D89BF3399BA</vt:lpwstr>
  </property>
</Properties>
</file>